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36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35.xml" ContentType="application/vnd.openxmlformats-officedocument.presentationml.slide+xml"/>
  <Override PartName="/ppt/slides/slide26.xml" ContentType="application/vnd.openxmlformats-officedocument.presentationml.slide+xml"/>
  <Override PartName="/ppt/slides/slide8.xml" ContentType="application/vnd.openxmlformats-officedocument.presentationml.slide+xml"/>
  <Override PartName="/ppt/slides/slide39.xml" ContentType="application/vnd.openxmlformats-officedocument.presentationml.slide+xml"/>
  <Override PartName="/ppt/slides/slide45.xml" ContentType="application/vnd.openxmlformats-officedocument.presentationml.slide+xml"/>
  <Override PartName="/ppt/slides/slide34.xml" ContentType="application/vnd.openxmlformats-officedocument.presentationml.slide+xml"/>
  <Override PartName="/ppt/slides/slide38.xml" ContentType="application/vnd.openxmlformats-officedocument.presentationml.slide+xml"/>
  <Override PartName="/ppt/slides/slide32.xml" ContentType="application/vnd.openxmlformats-officedocument.presentationml.slide+xml"/>
  <Override PartName="/ppt/slides/slide44.xml" ContentType="application/vnd.openxmlformats-officedocument.presentationml.slide+xml"/>
  <Override PartName="/ppt/slides/slide37.xml" ContentType="application/vnd.openxmlformats-officedocument.presentationml.slide+xml"/>
  <Override PartName="/ppt/slides/slide43.xml" ContentType="application/vnd.openxmlformats-officedocument.presentationml.slide+xml"/>
  <Override PartName="/ppt/slides/slide42.xml" ContentType="application/vnd.openxmlformats-officedocument.presentationml.slide+xml"/>
  <Override PartName="/ppt/slides/slide41.xml" ContentType="application/vnd.openxmlformats-officedocument.presentationml.slide+xml"/>
  <Override PartName="/ppt/slides/slide40.xml" ContentType="application/vnd.openxmlformats-officedocument.presentationml.slide+xml"/>
  <Override PartName="/ppt/slides/slide27.xml" ContentType="application/vnd.openxmlformats-officedocument.presentationml.slide+xml"/>
  <Override PartName="/ppt/slides/slide33.xml" ContentType="application/vnd.openxmlformats-officedocument.presentationml.slide+xml"/>
  <Override PartName="/ppt/slides/slide31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4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7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7" r:id="rId1"/>
    <p:sldMasterId id="2147483679" r:id="rId2"/>
    <p:sldMasterId id="2147483693" r:id="rId3"/>
    <p:sldMasterId id="2147483707" r:id="rId4"/>
  </p:sldMasterIdLst>
  <p:notesMasterIdLst>
    <p:notesMasterId r:id="rId50"/>
  </p:notesMasterIdLst>
  <p:sldIdLst>
    <p:sldId id="256" r:id="rId5"/>
    <p:sldId id="258" r:id="rId6"/>
    <p:sldId id="259" r:id="rId7"/>
    <p:sldId id="300" r:id="rId8"/>
    <p:sldId id="301" r:id="rId9"/>
    <p:sldId id="302" r:id="rId10"/>
    <p:sldId id="303" r:id="rId11"/>
    <p:sldId id="304" r:id="rId12"/>
    <p:sldId id="320" r:id="rId13"/>
    <p:sldId id="305" r:id="rId14"/>
    <p:sldId id="306" r:id="rId15"/>
    <p:sldId id="307" r:id="rId16"/>
    <p:sldId id="308" r:id="rId17"/>
    <p:sldId id="309" r:id="rId18"/>
    <p:sldId id="310" r:id="rId19"/>
    <p:sldId id="311" r:id="rId20"/>
    <p:sldId id="312" r:id="rId21"/>
    <p:sldId id="313" r:id="rId22"/>
    <p:sldId id="314" r:id="rId23"/>
    <p:sldId id="315" r:id="rId24"/>
    <p:sldId id="316" r:id="rId25"/>
    <p:sldId id="317" r:id="rId26"/>
    <p:sldId id="318" r:id="rId27"/>
    <p:sldId id="264" r:id="rId28"/>
    <p:sldId id="265" r:id="rId29"/>
    <p:sldId id="325" r:id="rId30"/>
    <p:sldId id="324" r:id="rId31"/>
    <p:sldId id="329" r:id="rId32"/>
    <p:sldId id="267" r:id="rId33"/>
    <p:sldId id="319" r:id="rId34"/>
    <p:sldId id="327" r:id="rId35"/>
    <p:sldId id="328" r:id="rId36"/>
    <p:sldId id="276" r:id="rId37"/>
    <p:sldId id="277" r:id="rId38"/>
    <p:sldId id="278" r:id="rId39"/>
    <p:sldId id="326" r:id="rId40"/>
    <p:sldId id="321" r:id="rId41"/>
    <p:sldId id="323" r:id="rId42"/>
    <p:sldId id="275" r:id="rId43"/>
    <p:sldId id="270" r:id="rId44"/>
    <p:sldId id="271" r:id="rId45"/>
    <p:sldId id="272" r:id="rId46"/>
    <p:sldId id="273" r:id="rId47"/>
    <p:sldId id="299" r:id="rId48"/>
    <p:sldId id="274" r:id="rId49"/>
  </p:sldIdLst>
  <p:sldSz cx="24384000" cy="13716000"/>
  <p:notesSz cx="6858000" cy="9144000"/>
  <p:embeddedFontLst>
    <p:embeddedFont>
      <p:font typeface="Calibri" panose="020F0502020204030204" pitchFamily="34" charset="0"/>
      <p:regular r:id="rId51"/>
      <p:bold r:id="rId52"/>
      <p:italic r:id="rId53"/>
      <p:boldItalic r:id="rId54"/>
    </p:embeddedFont>
    <p:embeddedFont>
      <p:font typeface="Barclaycard Co Lt" panose="020B0503060202020204" pitchFamily="34" charset="0"/>
      <p:regular r:id="rId55"/>
    </p:embeddedFont>
    <p:embeddedFont>
      <p:font typeface="Expert Sans Regular" panose="020B0503030103020204" pitchFamily="34" charset="0"/>
      <p:regular r:id="rId56"/>
      <p:bold r:id="rId57"/>
      <p:italic r:id="rId58"/>
      <p:boldItalic r:id="rId59"/>
    </p:embeddedFont>
    <p:embeddedFont>
      <p:font typeface="Helvetica" panose="020B0604020202020204" pitchFamily="34" charset="0"/>
      <p:regular r:id="rId60"/>
      <p:bold r:id="rId61"/>
      <p:italic r:id="rId62"/>
      <p:boldItalic r:id="rId63"/>
    </p:embeddedFont>
    <p:embeddedFont>
      <p:font typeface="Century Gothic" panose="020B0502020202020204" pitchFamily="34" charset="0"/>
      <p:regular r:id="rId64"/>
      <p:bold r:id="rId65"/>
      <p:italic r:id="rId66"/>
      <p:boldItalic r:id="rId67"/>
    </p:embeddedFont>
    <p:embeddedFont>
      <p:font typeface="Helvetica Neue" panose="020B0604020202020204" charset="0"/>
      <p:regular r:id="rId68"/>
      <p:bold r:id="rId69"/>
      <p:italic r:id="rId70"/>
      <p:boldItalic r:id="rId71"/>
    </p:embeddedFont>
    <p:embeddedFont>
      <p:font typeface="Arial Black" panose="020B0A04020102090204" pitchFamily="34" charset="0"/>
      <p:bold r:id="rId72"/>
      <p:italic r:id="rId7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8F3C4A1-1F4A-4A39-82B1-8B9778B95AF7}">
  <a:tblStyle styleId="{28F3C4A1-1F4A-4A39-82B1-8B9778B95AF7}" styleName="Table_0"/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66" d="100"/>
          <a:sy n="66" d="100"/>
        </p:scale>
        <p:origin x="-1374" y="-672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notesMaster" Target="notesMasters/notesMaster1.xml"/><Relationship Id="rId55" Type="http://schemas.openxmlformats.org/officeDocument/2006/relationships/font" Target="fonts/font5.fntdata"/><Relationship Id="rId63" Type="http://schemas.openxmlformats.org/officeDocument/2006/relationships/font" Target="fonts/font13.fntdata"/><Relationship Id="rId68" Type="http://schemas.openxmlformats.org/officeDocument/2006/relationships/font" Target="fonts/font18.fntdata"/><Relationship Id="rId76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font" Target="fonts/font21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font" Target="fonts/font3.fntdata"/><Relationship Id="rId58" Type="http://schemas.openxmlformats.org/officeDocument/2006/relationships/font" Target="fonts/font8.fntdata"/><Relationship Id="rId66" Type="http://schemas.openxmlformats.org/officeDocument/2006/relationships/font" Target="fonts/font16.fntdata"/><Relationship Id="rId7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font" Target="fonts/font7.fntdata"/><Relationship Id="rId61" Type="http://schemas.openxmlformats.org/officeDocument/2006/relationships/font" Target="fonts/font11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font" Target="fonts/font2.fntdata"/><Relationship Id="rId60" Type="http://schemas.openxmlformats.org/officeDocument/2006/relationships/font" Target="fonts/font10.fntdata"/><Relationship Id="rId65" Type="http://schemas.openxmlformats.org/officeDocument/2006/relationships/font" Target="fonts/font15.fntdata"/><Relationship Id="rId73" Type="http://schemas.openxmlformats.org/officeDocument/2006/relationships/font" Target="fonts/font23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font" Target="fonts/font6.fntdata"/><Relationship Id="rId64" Type="http://schemas.openxmlformats.org/officeDocument/2006/relationships/font" Target="fonts/font14.fntdata"/><Relationship Id="rId69" Type="http://schemas.openxmlformats.org/officeDocument/2006/relationships/font" Target="fonts/font19.fntdata"/><Relationship Id="rId77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font" Target="fonts/font1.fntdata"/><Relationship Id="rId72" Type="http://schemas.openxmlformats.org/officeDocument/2006/relationships/font" Target="fonts/font22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font" Target="fonts/font9.fntdata"/><Relationship Id="rId67" Type="http://schemas.openxmlformats.org/officeDocument/2006/relationships/font" Target="fonts/font17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font" Target="fonts/font4.fntdata"/><Relationship Id="rId62" Type="http://schemas.openxmlformats.org/officeDocument/2006/relationships/font" Target="fonts/font12.fntdata"/><Relationship Id="rId70" Type="http://schemas.openxmlformats.org/officeDocument/2006/relationships/font" Target="fonts/font20.fntdata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explosion val="5"/>
          <c:dPt>
            <c:idx val="0"/>
            <c:bubble3D val="0"/>
            <c:spPr>
              <a:solidFill>
                <a:srgbClr val="FFFF00"/>
              </a:solidFill>
              <a:ln w="1905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bubble3D val="0"/>
            <c:spPr>
              <a:solidFill>
                <a:srgbClr val="00B0F0"/>
              </a:solidFill>
              <a:ln w="1905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3"/>
            <c:bubble3D val="0"/>
            <c:spPr>
              <a:solidFill>
                <a:schemeClr val="accent2">
                  <a:shade val="58000"/>
                </a:schemeClr>
              </a:solidFill>
              <a:ln w="1905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4.9000000000000002E-2</c:v>
                </c:pt>
                <c:pt idx="1">
                  <c:v>0.127</c:v>
                </c:pt>
                <c:pt idx="2">
                  <c:v>0.822999999999999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png"/><Relationship Id="rId1" Type="http://schemas.openxmlformats.org/officeDocument/2006/relationships/image" Target="../media/image44.jpg"/><Relationship Id="rId5" Type="http://schemas.openxmlformats.org/officeDocument/2006/relationships/image" Target="../media/image48.jpg"/><Relationship Id="rId4" Type="http://schemas.openxmlformats.org/officeDocument/2006/relationships/image" Target="../media/image47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png"/><Relationship Id="rId1" Type="http://schemas.openxmlformats.org/officeDocument/2006/relationships/image" Target="../media/image44.jpg"/><Relationship Id="rId5" Type="http://schemas.openxmlformats.org/officeDocument/2006/relationships/image" Target="../media/image48.jpg"/><Relationship Id="rId4" Type="http://schemas.openxmlformats.org/officeDocument/2006/relationships/image" Target="../media/image4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30E056-4133-42A4-8C12-492A51916E6E}" type="doc">
      <dgm:prSet loTypeId="urn:microsoft.com/office/officeart/2008/layout/HexagonCluster" loCatId="relationship" qsTypeId="urn:microsoft.com/office/officeart/2005/8/quickstyle/3d9" qsCatId="3D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6E91D5CE-7B84-4623-9AFB-451FCBC27A31}">
      <dgm:prSet phldrT="[Text]"/>
      <dgm:spPr/>
      <dgm:t>
        <a:bodyPr/>
        <a:lstStyle/>
        <a:p>
          <a:r>
            <a:rPr lang="en-GB" dirty="0" smtClean="0"/>
            <a:t>Talent Management</a:t>
          </a:r>
          <a:endParaRPr lang="en-US" dirty="0"/>
        </a:p>
      </dgm:t>
    </dgm:pt>
    <dgm:pt modelId="{447189C9-BCBD-4B07-BF33-D2FF5E1A1C1B}" type="parTrans" cxnId="{CEA91F96-86E8-47A9-A619-48ED588E41DD}">
      <dgm:prSet/>
      <dgm:spPr/>
      <dgm:t>
        <a:bodyPr/>
        <a:lstStyle/>
        <a:p>
          <a:endParaRPr lang="en-US"/>
        </a:p>
      </dgm:t>
    </dgm:pt>
    <dgm:pt modelId="{C5C1D0E7-5169-4368-8C6D-B889EEDED112}" type="sibTrans" cxnId="{CEA91F96-86E8-47A9-A619-48ED588E41DD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en-US"/>
        </a:p>
      </dgm:t>
    </dgm:pt>
    <dgm:pt modelId="{5A4925CF-0EA1-459B-B762-2AC71008509E}">
      <dgm:prSet phldrT="[Text]"/>
      <dgm:spPr/>
      <dgm:t>
        <a:bodyPr/>
        <a:lstStyle/>
        <a:p>
          <a:r>
            <a:rPr lang="en-GB" dirty="0" smtClean="0"/>
            <a:t>Leadership Development</a:t>
          </a:r>
          <a:endParaRPr lang="en-US" dirty="0"/>
        </a:p>
      </dgm:t>
    </dgm:pt>
    <dgm:pt modelId="{EFD7BADD-053A-4A68-81D1-C6F3F120FC7A}" type="parTrans" cxnId="{9A200E53-4CAB-49D3-A677-81A0C8C7F556}">
      <dgm:prSet/>
      <dgm:spPr/>
      <dgm:t>
        <a:bodyPr/>
        <a:lstStyle/>
        <a:p>
          <a:endParaRPr lang="en-US"/>
        </a:p>
      </dgm:t>
    </dgm:pt>
    <dgm:pt modelId="{6960D65A-ECA4-4909-9FDC-7E4BCFCC1B02}" type="sibTrans" cxnId="{9A200E53-4CAB-49D3-A677-81A0C8C7F556}">
      <dgm:prSet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en-US"/>
        </a:p>
      </dgm:t>
    </dgm:pt>
    <dgm:pt modelId="{AB3CAF64-1C5C-4F4C-A0B7-4FAF42D924D5}">
      <dgm:prSet phldrT="[Text]"/>
      <dgm:spPr/>
      <dgm:t>
        <a:bodyPr/>
        <a:lstStyle/>
        <a:p>
          <a:r>
            <a:rPr lang="en-GB" dirty="0" smtClean="0"/>
            <a:t>Innovation Trajectory</a:t>
          </a:r>
          <a:endParaRPr lang="en-US" dirty="0"/>
        </a:p>
      </dgm:t>
    </dgm:pt>
    <dgm:pt modelId="{5350CB34-2541-435B-AFEF-94C458B8F8C1}" type="parTrans" cxnId="{6661127B-7943-4C4E-9BAD-0343E1266A4A}">
      <dgm:prSet/>
      <dgm:spPr/>
      <dgm:t>
        <a:bodyPr/>
        <a:lstStyle/>
        <a:p>
          <a:endParaRPr lang="en-US"/>
        </a:p>
      </dgm:t>
    </dgm:pt>
    <dgm:pt modelId="{625982A7-6E0E-4E5E-9F1B-576C5BB7671C}" type="sibTrans" cxnId="{6661127B-7943-4C4E-9BAD-0343E1266A4A}">
      <dgm:prSet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en-US"/>
        </a:p>
      </dgm:t>
    </dgm:pt>
    <dgm:pt modelId="{42AA346B-DA63-4CD5-A9E1-82738C562B6C}">
      <dgm:prSet phldrT="[Text]"/>
      <dgm:spPr/>
      <dgm:t>
        <a:bodyPr/>
        <a:lstStyle/>
        <a:p>
          <a:r>
            <a:rPr lang="en-GB" dirty="0" smtClean="0"/>
            <a:t>Reputation &amp; Brand</a:t>
          </a:r>
          <a:endParaRPr lang="en-US" dirty="0"/>
        </a:p>
      </dgm:t>
    </dgm:pt>
    <dgm:pt modelId="{96B193ED-EF61-459B-AC3D-0A89BE2495DE}" type="parTrans" cxnId="{5789C7E2-2719-4555-828E-12CE568688E7}">
      <dgm:prSet/>
      <dgm:spPr/>
      <dgm:t>
        <a:bodyPr/>
        <a:lstStyle/>
        <a:p>
          <a:endParaRPr lang="en-US"/>
        </a:p>
      </dgm:t>
    </dgm:pt>
    <dgm:pt modelId="{8989713F-8BA4-47EB-B482-ADBCF94A915C}" type="sibTrans" cxnId="{5789C7E2-2719-4555-828E-12CE568688E7}">
      <dgm:prSet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8000" r="-18000"/>
          </a:stretch>
        </a:blipFill>
      </dgm:spPr>
      <dgm:t>
        <a:bodyPr/>
        <a:lstStyle/>
        <a:p>
          <a:endParaRPr lang="en-US"/>
        </a:p>
      </dgm:t>
    </dgm:pt>
    <dgm:pt modelId="{78CC5371-14FF-4052-BF57-81DBA9B363BE}">
      <dgm:prSet phldrT="[Text]"/>
      <dgm:spPr/>
      <dgm:t>
        <a:bodyPr/>
        <a:lstStyle/>
        <a:p>
          <a:r>
            <a:rPr lang="en-GB" dirty="0" smtClean="0"/>
            <a:t>Growth</a:t>
          </a:r>
          <a:endParaRPr lang="en-US" dirty="0"/>
        </a:p>
      </dgm:t>
    </dgm:pt>
    <dgm:pt modelId="{E5F7B77F-3601-4B58-ADD3-6D829D5B0F51}" type="parTrans" cxnId="{CD153299-451E-472B-837D-6D2F99DFA8F4}">
      <dgm:prSet/>
      <dgm:spPr/>
      <dgm:t>
        <a:bodyPr/>
        <a:lstStyle/>
        <a:p>
          <a:endParaRPr lang="en-US"/>
        </a:p>
      </dgm:t>
    </dgm:pt>
    <dgm:pt modelId="{A949BFE9-D0D9-439D-8B17-74FB4D5C346D}" type="sibTrans" cxnId="{CD153299-451E-472B-837D-6D2F99DFA8F4}">
      <dgm:prSet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en-US"/>
        </a:p>
      </dgm:t>
    </dgm:pt>
    <dgm:pt modelId="{50F39734-2B56-4566-90A6-7E966723E45E}" type="pres">
      <dgm:prSet presAssocID="{1630E056-4133-42A4-8C12-492A51916E6E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en-US"/>
        </a:p>
      </dgm:t>
    </dgm:pt>
    <dgm:pt modelId="{44A31C3A-8FCE-4DEB-B4D9-A291084136F6}" type="pres">
      <dgm:prSet presAssocID="{6E91D5CE-7B84-4623-9AFB-451FCBC27A31}" presName="text1" presStyleCnt="0"/>
      <dgm:spPr/>
      <dgm:t>
        <a:bodyPr/>
        <a:lstStyle/>
        <a:p>
          <a:endParaRPr lang="en-US"/>
        </a:p>
      </dgm:t>
    </dgm:pt>
    <dgm:pt modelId="{05F2530E-D62B-43A8-A78D-3F2B53E81FC3}" type="pres">
      <dgm:prSet presAssocID="{6E91D5CE-7B84-4623-9AFB-451FCBC27A31}" presName="textRepeatNode" presStyleLbl="align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363565-1601-433E-ADF7-03E2702C1A33}" type="pres">
      <dgm:prSet presAssocID="{6E91D5CE-7B84-4623-9AFB-451FCBC27A31}" presName="textaccent1" presStyleCnt="0"/>
      <dgm:spPr/>
      <dgm:t>
        <a:bodyPr/>
        <a:lstStyle/>
        <a:p>
          <a:endParaRPr lang="en-US"/>
        </a:p>
      </dgm:t>
    </dgm:pt>
    <dgm:pt modelId="{FDBFE483-988D-41B9-888B-8B2A004874F2}" type="pres">
      <dgm:prSet presAssocID="{6E91D5CE-7B84-4623-9AFB-451FCBC27A31}" presName="accentRepeatNode" presStyleLbl="solidAlignAcc1" presStyleIdx="0" presStyleCnt="10"/>
      <dgm:spPr/>
      <dgm:t>
        <a:bodyPr/>
        <a:lstStyle/>
        <a:p>
          <a:endParaRPr lang="en-US"/>
        </a:p>
      </dgm:t>
    </dgm:pt>
    <dgm:pt modelId="{22BBC150-E404-4E31-B616-073DD3628B3D}" type="pres">
      <dgm:prSet presAssocID="{C5C1D0E7-5169-4368-8C6D-B889EEDED112}" presName="image1" presStyleCnt="0"/>
      <dgm:spPr/>
      <dgm:t>
        <a:bodyPr/>
        <a:lstStyle/>
        <a:p>
          <a:endParaRPr lang="en-US"/>
        </a:p>
      </dgm:t>
    </dgm:pt>
    <dgm:pt modelId="{2AAE2322-1E56-49B7-AA65-8E86458E2CC3}" type="pres">
      <dgm:prSet presAssocID="{C5C1D0E7-5169-4368-8C6D-B889EEDED112}" presName="imageRepeatNode" presStyleLbl="alignAcc1" presStyleIdx="0" presStyleCnt="5"/>
      <dgm:spPr/>
      <dgm:t>
        <a:bodyPr/>
        <a:lstStyle/>
        <a:p>
          <a:endParaRPr lang="en-US"/>
        </a:p>
      </dgm:t>
    </dgm:pt>
    <dgm:pt modelId="{D475AEF7-9EF3-4BB4-9861-9278F2A7F274}" type="pres">
      <dgm:prSet presAssocID="{C5C1D0E7-5169-4368-8C6D-B889EEDED112}" presName="imageaccent1" presStyleCnt="0"/>
      <dgm:spPr/>
      <dgm:t>
        <a:bodyPr/>
        <a:lstStyle/>
        <a:p>
          <a:endParaRPr lang="en-US"/>
        </a:p>
      </dgm:t>
    </dgm:pt>
    <dgm:pt modelId="{10B996C2-2858-42F7-80C2-933166A3BD69}" type="pres">
      <dgm:prSet presAssocID="{C5C1D0E7-5169-4368-8C6D-B889EEDED112}" presName="accentRepeatNode" presStyleLbl="solidAlignAcc1" presStyleIdx="1" presStyleCnt="10"/>
      <dgm:spPr/>
      <dgm:t>
        <a:bodyPr/>
        <a:lstStyle/>
        <a:p>
          <a:endParaRPr lang="en-US"/>
        </a:p>
      </dgm:t>
    </dgm:pt>
    <dgm:pt modelId="{937DB15A-8902-4C54-A16F-712B91D2A751}" type="pres">
      <dgm:prSet presAssocID="{5A4925CF-0EA1-459B-B762-2AC71008509E}" presName="text2" presStyleCnt="0"/>
      <dgm:spPr/>
      <dgm:t>
        <a:bodyPr/>
        <a:lstStyle/>
        <a:p>
          <a:endParaRPr lang="en-US"/>
        </a:p>
      </dgm:t>
    </dgm:pt>
    <dgm:pt modelId="{4DFEE8F9-4068-42A7-8F01-FC5207FE23B5}" type="pres">
      <dgm:prSet presAssocID="{5A4925CF-0EA1-459B-B762-2AC71008509E}" presName="textRepeatNode" presStyleLbl="align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4D8D6FD-38E0-43A0-B86F-CE11A2932FA7}" type="pres">
      <dgm:prSet presAssocID="{5A4925CF-0EA1-459B-B762-2AC71008509E}" presName="textaccent2" presStyleCnt="0"/>
      <dgm:spPr/>
      <dgm:t>
        <a:bodyPr/>
        <a:lstStyle/>
        <a:p>
          <a:endParaRPr lang="en-US"/>
        </a:p>
      </dgm:t>
    </dgm:pt>
    <dgm:pt modelId="{2242CA68-FD51-43CA-B17C-24C54675352F}" type="pres">
      <dgm:prSet presAssocID="{5A4925CF-0EA1-459B-B762-2AC71008509E}" presName="accentRepeatNode" presStyleLbl="solidAlignAcc1" presStyleIdx="2" presStyleCnt="10"/>
      <dgm:spPr/>
      <dgm:t>
        <a:bodyPr/>
        <a:lstStyle/>
        <a:p>
          <a:endParaRPr lang="en-US"/>
        </a:p>
      </dgm:t>
    </dgm:pt>
    <dgm:pt modelId="{C62CF373-10D6-4369-BA35-D049CD6AE34D}" type="pres">
      <dgm:prSet presAssocID="{6960D65A-ECA4-4909-9FDC-7E4BCFCC1B02}" presName="image2" presStyleCnt="0"/>
      <dgm:spPr/>
      <dgm:t>
        <a:bodyPr/>
        <a:lstStyle/>
        <a:p>
          <a:endParaRPr lang="en-US"/>
        </a:p>
      </dgm:t>
    </dgm:pt>
    <dgm:pt modelId="{91391498-5DB4-43CB-AA6A-5CC0B1AD9455}" type="pres">
      <dgm:prSet presAssocID="{6960D65A-ECA4-4909-9FDC-7E4BCFCC1B02}" presName="imageRepeatNode" presStyleLbl="alignAcc1" presStyleIdx="1" presStyleCnt="5"/>
      <dgm:spPr/>
      <dgm:t>
        <a:bodyPr/>
        <a:lstStyle/>
        <a:p>
          <a:endParaRPr lang="en-US"/>
        </a:p>
      </dgm:t>
    </dgm:pt>
    <dgm:pt modelId="{83A7C904-A1AB-475A-B248-DEA119F8D9D6}" type="pres">
      <dgm:prSet presAssocID="{6960D65A-ECA4-4909-9FDC-7E4BCFCC1B02}" presName="imageaccent2" presStyleCnt="0"/>
      <dgm:spPr/>
      <dgm:t>
        <a:bodyPr/>
        <a:lstStyle/>
        <a:p>
          <a:endParaRPr lang="en-US"/>
        </a:p>
      </dgm:t>
    </dgm:pt>
    <dgm:pt modelId="{D94243D9-4801-4475-ACA7-813677F4B24D}" type="pres">
      <dgm:prSet presAssocID="{6960D65A-ECA4-4909-9FDC-7E4BCFCC1B02}" presName="accentRepeatNode" presStyleLbl="solidAlignAcc1" presStyleIdx="3" presStyleCnt="10"/>
      <dgm:spPr/>
      <dgm:t>
        <a:bodyPr/>
        <a:lstStyle/>
        <a:p>
          <a:endParaRPr lang="en-US"/>
        </a:p>
      </dgm:t>
    </dgm:pt>
    <dgm:pt modelId="{209E0BE7-49B4-4D58-B40A-96CE18050CA2}" type="pres">
      <dgm:prSet presAssocID="{AB3CAF64-1C5C-4F4C-A0B7-4FAF42D924D5}" presName="text3" presStyleCnt="0"/>
      <dgm:spPr/>
      <dgm:t>
        <a:bodyPr/>
        <a:lstStyle/>
        <a:p>
          <a:endParaRPr lang="en-US"/>
        </a:p>
      </dgm:t>
    </dgm:pt>
    <dgm:pt modelId="{AC181669-A613-4813-872D-BC8095401457}" type="pres">
      <dgm:prSet presAssocID="{AB3CAF64-1C5C-4F4C-A0B7-4FAF42D924D5}" presName="textRepeatNode" presStyleLbl="align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C5F32E-A7B1-42E6-9F88-4C5F83E09744}" type="pres">
      <dgm:prSet presAssocID="{AB3CAF64-1C5C-4F4C-A0B7-4FAF42D924D5}" presName="textaccent3" presStyleCnt="0"/>
      <dgm:spPr/>
      <dgm:t>
        <a:bodyPr/>
        <a:lstStyle/>
        <a:p>
          <a:endParaRPr lang="en-US"/>
        </a:p>
      </dgm:t>
    </dgm:pt>
    <dgm:pt modelId="{A148FA51-B114-40B9-BCCB-E9E8C8542E2B}" type="pres">
      <dgm:prSet presAssocID="{AB3CAF64-1C5C-4F4C-A0B7-4FAF42D924D5}" presName="accentRepeatNode" presStyleLbl="solidAlignAcc1" presStyleIdx="4" presStyleCnt="10"/>
      <dgm:spPr/>
      <dgm:t>
        <a:bodyPr/>
        <a:lstStyle/>
        <a:p>
          <a:endParaRPr lang="en-US"/>
        </a:p>
      </dgm:t>
    </dgm:pt>
    <dgm:pt modelId="{A087312E-7623-49EE-9510-0A9C93C6A2CB}" type="pres">
      <dgm:prSet presAssocID="{625982A7-6E0E-4E5E-9F1B-576C5BB7671C}" presName="image3" presStyleCnt="0"/>
      <dgm:spPr/>
      <dgm:t>
        <a:bodyPr/>
        <a:lstStyle/>
        <a:p>
          <a:endParaRPr lang="en-US"/>
        </a:p>
      </dgm:t>
    </dgm:pt>
    <dgm:pt modelId="{9A7D8DF1-B62D-49B4-B26A-21E6F604983A}" type="pres">
      <dgm:prSet presAssocID="{625982A7-6E0E-4E5E-9F1B-576C5BB7671C}" presName="imageRepeatNode" presStyleLbl="alignAcc1" presStyleIdx="2" presStyleCnt="5"/>
      <dgm:spPr/>
      <dgm:t>
        <a:bodyPr/>
        <a:lstStyle/>
        <a:p>
          <a:endParaRPr lang="en-US"/>
        </a:p>
      </dgm:t>
    </dgm:pt>
    <dgm:pt modelId="{44151976-702C-46F2-96EB-C7A07C0EC853}" type="pres">
      <dgm:prSet presAssocID="{625982A7-6E0E-4E5E-9F1B-576C5BB7671C}" presName="imageaccent3" presStyleCnt="0"/>
      <dgm:spPr/>
      <dgm:t>
        <a:bodyPr/>
        <a:lstStyle/>
        <a:p>
          <a:endParaRPr lang="en-US"/>
        </a:p>
      </dgm:t>
    </dgm:pt>
    <dgm:pt modelId="{2D1DD9BC-A46A-4D58-93EE-A0E5058003E4}" type="pres">
      <dgm:prSet presAssocID="{625982A7-6E0E-4E5E-9F1B-576C5BB7671C}" presName="accentRepeatNode" presStyleLbl="solidAlignAcc1" presStyleIdx="5" presStyleCnt="10"/>
      <dgm:spPr/>
      <dgm:t>
        <a:bodyPr/>
        <a:lstStyle/>
        <a:p>
          <a:endParaRPr lang="en-US"/>
        </a:p>
      </dgm:t>
    </dgm:pt>
    <dgm:pt modelId="{13F7717D-1923-446A-A0C9-195C75C23B0A}" type="pres">
      <dgm:prSet presAssocID="{42AA346B-DA63-4CD5-A9E1-82738C562B6C}" presName="text4" presStyleCnt="0"/>
      <dgm:spPr/>
      <dgm:t>
        <a:bodyPr/>
        <a:lstStyle/>
        <a:p>
          <a:endParaRPr lang="en-US"/>
        </a:p>
      </dgm:t>
    </dgm:pt>
    <dgm:pt modelId="{EEDB2658-DC6B-4C96-94C8-8CCF12238F5C}" type="pres">
      <dgm:prSet presAssocID="{42AA346B-DA63-4CD5-A9E1-82738C562B6C}" presName="textRepeatNode" presStyleLbl="align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3CC0ED-141B-4500-90F0-FD29967305EE}" type="pres">
      <dgm:prSet presAssocID="{42AA346B-DA63-4CD5-A9E1-82738C562B6C}" presName="textaccent4" presStyleCnt="0"/>
      <dgm:spPr/>
      <dgm:t>
        <a:bodyPr/>
        <a:lstStyle/>
        <a:p>
          <a:endParaRPr lang="en-US"/>
        </a:p>
      </dgm:t>
    </dgm:pt>
    <dgm:pt modelId="{BE6B98DF-6A77-4126-93CB-AC1D630C70F2}" type="pres">
      <dgm:prSet presAssocID="{42AA346B-DA63-4CD5-A9E1-82738C562B6C}" presName="accentRepeatNode" presStyleLbl="solidAlignAcc1" presStyleIdx="6" presStyleCnt="10"/>
      <dgm:spPr/>
      <dgm:t>
        <a:bodyPr/>
        <a:lstStyle/>
        <a:p>
          <a:endParaRPr lang="en-US"/>
        </a:p>
      </dgm:t>
    </dgm:pt>
    <dgm:pt modelId="{E733B375-4CFE-4B40-AEDA-E74AFA4D181B}" type="pres">
      <dgm:prSet presAssocID="{8989713F-8BA4-47EB-B482-ADBCF94A915C}" presName="image4" presStyleCnt="0"/>
      <dgm:spPr/>
      <dgm:t>
        <a:bodyPr/>
        <a:lstStyle/>
        <a:p>
          <a:endParaRPr lang="en-US"/>
        </a:p>
      </dgm:t>
    </dgm:pt>
    <dgm:pt modelId="{BB5BE434-E2E0-4C72-8608-CF593276544B}" type="pres">
      <dgm:prSet presAssocID="{8989713F-8BA4-47EB-B482-ADBCF94A915C}" presName="imageRepeatNode" presStyleLbl="alignAcc1" presStyleIdx="3" presStyleCnt="5"/>
      <dgm:spPr/>
      <dgm:t>
        <a:bodyPr/>
        <a:lstStyle/>
        <a:p>
          <a:endParaRPr lang="en-US"/>
        </a:p>
      </dgm:t>
    </dgm:pt>
    <dgm:pt modelId="{F6CE5567-249E-44E6-815E-283AFDE82B27}" type="pres">
      <dgm:prSet presAssocID="{8989713F-8BA4-47EB-B482-ADBCF94A915C}" presName="imageaccent4" presStyleCnt="0"/>
      <dgm:spPr/>
      <dgm:t>
        <a:bodyPr/>
        <a:lstStyle/>
        <a:p>
          <a:endParaRPr lang="en-US"/>
        </a:p>
      </dgm:t>
    </dgm:pt>
    <dgm:pt modelId="{7C6D87B4-AF15-4A03-AC83-1AEC22A09148}" type="pres">
      <dgm:prSet presAssocID="{8989713F-8BA4-47EB-B482-ADBCF94A915C}" presName="accentRepeatNode" presStyleLbl="solidAlignAcc1" presStyleIdx="7" presStyleCnt="10"/>
      <dgm:spPr/>
      <dgm:t>
        <a:bodyPr/>
        <a:lstStyle/>
        <a:p>
          <a:endParaRPr lang="en-US"/>
        </a:p>
      </dgm:t>
    </dgm:pt>
    <dgm:pt modelId="{36FF8F8D-075E-4408-9BEC-6B8F8422DDA4}" type="pres">
      <dgm:prSet presAssocID="{78CC5371-14FF-4052-BF57-81DBA9B363BE}" presName="text5" presStyleCnt="0"/>
      <dgm:spPr/>
      <dgm:t>
        <a:bodyPr/>
        <a:lstStyle/>
        <a:p>
          <a:endParaRPr lang="en-US"/>
        </a:p>
      </dgm:t>
    </dgm:pt>
    <dgm:pt modelId="{D1A08AA4-DF44-46B7-90DB-2DACA574EB45}" type="pres">
      <dgm:prSet presAssocID="{78CC5371-14FF-4052-BF57-81DBA9B363BE}" presName="textRepeatNode" presStyleLbl="align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F3CF1B-0958-4799-9353-8DDE76DD8369}" type="pres">
      <dgm:prSet presAssocID="{78CC5371-14FF-4052-BF57-81DBA9B363BE}" presName="textaccent5" presStyleCnt="0"/>
      <dgm:spPr/>
      <dgm:t>
        <a:bodyPr/>
        <a:lstStyle/>
        <a:p>
          <a:endParaRPr lang="en-US"/>
        </a:p>
      </dgm:t>
    </dgm:pt>
    <dgm:pt modelId="{6B1A341E-CE99-41D5-933F-C047641B6B49}" type="pres">
      <dgm:prSet presAssocID="{78CC5371-14FF-4052-BF57-81DBA9B363BE}" presName="accentRepeatNode" presStyleLbl="solidAlignAcc1" presStyleIdx="8" presStyleCnt="10"/>
      <dgm:spPr/>
      <dgm:t>
        <a:bodyPr/>
        <a:lstStyle/>
        <a:p>
          <a:endParaRPr lang="en-US"/>
        </a:p>
      </dgm:t>
    </dgm:pt>
    <dgm:pt modelId="{AC4C8958-6C52-4450-A135-4F0327F1DD69}" type="pres">
      <dgm:prSet presAssocID="{A949BFE9-D0D9-439D-8B17-74FB4D5C346D}" presName="image5" presStyleCnt="0"/>
      <dgm:spPr/>
      <dgm:t>
        <a:bodyPr/>
        <a:lstStyle/>
        <a:p>
          <a:endParaRPr lang="en-US"/>
        </a:p>
      </dgm:t>
    </dgm:pt>
    <dgm:pt modelId="{7E83609A-2154-41A2-B05A-C8600A910AD9}" type="pres">
      <dgm:prSet presAssocID="{A949BFE9-D0D9-439D-8B17-74FB4D5C346D}" presName="imageRepeatNode" presStyleLbl="alignAcc1" presStyleIdx="4" presStyleCnt="5"/>
      <dgm:spPr/>
      <dgm:t>
        <a:bodyPr/>
        <a:lstStyle/>
        <a:p>
          <a:endParaRPr lang="en-US"/>
        </a:p>
      </dgm:t>
    </dgm:pt>
    <dgm:pt modelId="{DFDBD9D0-E059-45C6-8C9D-EA1126EF1213}" type="pres">
      <dgm:prSet presAssocID="{A949BFE9-D0D9-439D-8B17-74FB4D5C346D}" presName="imageaccent5" presStyleCnt="0"/>
      <dgm:spPr/>
      <dgm:t>
        <a:bodyPr/>
        <a:lstStyle/>
        <a:p>
          <a:endParaRPr lang="en-US"/>
        </a:p>
      </dgm:t>
    </dgm:pt>
    <dgm:pt modelId="{CA6C3805-BCAC-47FF-ADEC-5FCC013A62D8}" type="pres">
      <dgm:prSet presAssocID="{A949BFE9-D0D9-439D-8B17-74FB4D5C346D}" presName="accentRepeatNode" presStyleLbl="solidAlignAcc1" presStyleIdx="9" presStyleCnt="10"/>
      <dgm:spPr/>
      <dgm:t>
        <a:bodyPr/>
        <a:lstStyle/>
        <a:p>
          <a:endParaRPr lang="en-US"/>
        </a:p>
      </dgm:t>
    </dgm:pt>
  </dgm:ptLst>
  <dgm:cxnLst>
    <dgm:cxn modelId="{6661127B-7943-4C4E-9BAD-0343E1266A4A}" srcId="{1630E056-4133-42A4-8C12-492A51916E6E}" destId="{AB3CAF64-1C5C-4F4C-A0B7-4FAF42D924D5}" srcOrd="2" destOrd="0" parTransId="{5350CB34-2541-435B-AFEF-94C458B8F8C1}" sibTransId="{625982A7-6E0E-4E5E-9F1B-576C5BB7671C}"/>
    <dgm:cxn modelId="{78224964-7C6A-4A31-9550-A000D9C4DEB7}" type="presOf" srcId="{625982A7-6E0E-4E5E-9F1B-576C5BB7671C}" destId="{9A7D8DF1-B62D-49B4-B26A-21E6F604983A}" srcOrd="0" destOrd="0" presId="urn:microsoft.com/office/officeart/2008/layout/HexagonCluster"/>
    <dgm:cxn modelId="{36F7AE16-2F4E-4BB4-A8E4-4B82AF0FFB2D}" type="presOf" srcId="{5A4925CF-0EA1-459B-B762-2AC71008509E}" destId="{4DFEE8F9-4068-42A7-8F01-FC5207FE23B5}" srcOrd="0" destOrd="0" presId="urn:microsoft.com/office/officeart/2008/layout/HexagonCluster"/>
    <dgm:cxn modelId="{1C0DF407-419B-4101-8191-236944399435}" type="presOf" srcId="{6E91D5CE-7B84-4623-9AFB-451FCBC27A31}" destId="{05F2530E-D62B-43A8-A78D-3F2B53E81FC3}" srcOrd="0" destOrd="0" presId="urn:microsoft.com/office/officeart/2008/layout/HexagonCluster"/>
    <dgm:cxn modelId="{CEA91F96-86E8-47A9-A619-48ED588E41DD}" srcId="{1630E056-4133-42A4-8C12-492A51916E6E}" destId="{6E91D5CE-7B84-4623-9AFB-451FCBC27A31}" srcOrd="0" destOrd="0" parTransId="{447189C9-BCBD-4B07-BF33-D2FF5E1A1C1B}" sibTransId="{C5C1D0E7-5169-4368-8C6D-B889EEDED112}"/>
    <dgm:cxn modelId="{6AA9DB93-8389-4DB4-B562-4BF4A1ABDDB5}" type="presOf" srcId="{78CC5371-14FF-4052-BF57-81DBA9B363BE}" destId="{D1A08AA4-DF44-46B7-90DB-2DACA574EB45}" srcOrd="0" destOrd="0" presId="urn:microsoft.com/office/officeart/2008/layout/HexagonCluster"/>
    <dgm:cxn modelId="{7D23B674-6E56-4C48-BA17-A2E2A256A2F3}" type="presOf" srcId="{1630E056-4133-42A4-8C12-492A51916E6E}" destId="{50F39734-2B56-4566-90A6-7E966723E45E}" srcOrd="0" destOrd="0" presId="urn:microsoft.com/office/officeart/2008/layout/HexagonCluster"/>
    <dgm:cxn modelId="{561D856C-EB4A-4906-B02D-469DF19AA3D9}" type="presOf" srcId="{8989713F-8BA4-47EB-B482-ADBCF94A915C}" destId="{BB5BE434-E2E0-4C72-8608-CF593276544B}" srcOrd="0" destOrd="0" presId="urn:microsoft.com/office/officeart/2008/layout/HexagonCluster"/>
    <dgm:cxn modelId="{5789C7E2-2719-4555-828E-12CE568688E7}" srcId="{1630E056-4133-42A4-8C12-492A51916E6E}" destId="{42AA346B-DA63-4CD5-A9E1-82738C562B6C}" srcOrd="3" destOrd="0" parTransId="{96B193ED-EF61-459B-AC3D-0A89BE2495DE}" sibTransId="{8989713F-8BA4-47EB-B482-ADBCF94A915C}"/>
    <dgm:cxn modelId="{268BD036-6F2E-4642-B3C1-6282A31C2E44}" type="presOf" srcId="{A949BFE9-D0D9-439D-8B17-74FB4D5C346D}" destId="{7E83609A-2154-41A2-B05A-C8600A910AD9}" srcOrd="0" destOrd="0" presId="urn:microsoft.com/office/officeart/2008/layout/HexagonCluster"/>
    <dgm:cxn modelId="{FD39CC04-4A27-4966-A40F-695B99810205}" type="presOf" srcId="{C5C1D0E7-5169-4368-8C6D-B889EEDED112}" destId="{2AAE2322-1E56-49B7-AA65-8E86458E2CC3}" srcOrd="0" destOrd="0" presId="urn:microsoft.com/office/officeart/2008/layout/HexagonCluster"/>
    <dgm:cxn modelId="{34DB2836-4AA5-4EAB-883D-71153AF5B432}" type="presOf" srcId="{42AA346B-DA63-4CD5-A9E1-82738C562B6C}" destId="{EEDB2658-DC6B-4C96-94C8-8CCF12238F5C}" srcOrd="0" destOrd="0" presId="urn:microsoft.com/office/officeart/2008/layout/HexagonCluster"/>
    <dgm:cxn modelId="{CD153299-451E-472B-837D-6D2F99DFA8F4}" srcId="{1630E056-4133-42A4-8C12-492A51916E6E}" destId="{78CC5371-14FF-4052-BF57-81DBA9B363BE}" srcOrd="4" destOrd="0" parTransId="{E5F7B77F-3601-4B58-ADD3-6D829D5B0F51}" sibTransId="{A949BFE9-D0D9-439D-8B17-74FB4D5C346D}"/>
    <dgm:cxn modelId="{FF6274DC-995F-46EB-AFB8-EC3741F904A9}" type="presOf" srcId="{6960D65A-ECA4-4909-9FDC-7E4BCFCC1B02}" destId="{91391498-5DB4-43CB-AA6A-5CC0B1AD9455}" srcOrd="0" destOrd="0" presId="urn:microsoft.com/office/officeart/2008/layout/HexagonCluster"/>
    <dgm:cxn modelId="{9A200E53-4CAB-49D3-A677-81A0C8C7F556}" srcId="{1630E056-4133-42A4-8C12-492A51916E6E}" destId="{5A4925CF-0EA1-459B-B762-2AC71008509E}" srcOrd="1" destOrd="0" parTransId="{EFD7BADD-053A-4A68-81D1-C6F3F120FC7A}" sibTransId="{6960D65A-ECA4-4909-9FDC-7E4BCFCC1B02}"/>
    <dgm:cxn modelId="{CB0B04E1-2C4F-4980-8FCA-1FD1665B017A}" type="presOf" srcId="{AB3CAF64-1C5C-4F4C-A0B7-4FAF42D924D5}" destId="{AC181669-A613-4813-872D-BC8095401457}" srcOrd="0" destOrd="0" presId="urn:microsoft.com/office/officeart/2008/layout/HexagonCluster"/>
    <dgm:cxn modelId="{0E710F59-3BC7-4AAD-9C3D-56FE26101495}" type="presParOf" srcId="{50F39734-2B56-4566-90A6-7E966723E45E}" destId="{44A31C3A-8FCE-4DEB-B4D9-A291084136F6}" srcOrd="0" destOrd="0" presId="urn:microsoft.com/office/officeart/2008/layout/HexagonCluster"/>
    <dgm:cxn modelId="{104E8E59-6541-4468-B31F-233B242AE679}" type="presParOf" srcId="{44A31C3A-8FCE-4DEB-B4D9-A291084136F6}" destId="{05F2530E-D62B-43A8-A78D-3F2B53E81FC3}" srcOrd="0" destOrd="0" presId="urn:microsoft.com/office/officeart/2008/layout/HexagonCluster"/>
    <dgm:cxn modelId="{20F3ADC6-F711-40A1-8CBA-67CB9F74E425}" type="presParOf" srcId="{50F39734-2B56-4566-90A6-7E966723E45E}" destId="{D8363565-1601-433E-ADF7-03E2702C1A33}" srcOrd="1" destOrd="0" presId="urn:microsoft.com/office/officeart/2008/layout/HexagonCluster"/>
    <dgm:cxn modelId="{D4682245-E19D-452C-8958-F38A1DA9DC45}" type="presParOf" srcId="{D8363565-1601-433E-ADF7-03E2702C1A33}" destId="{FDBFE483-988D-41B9-888B-8B2A004874F2}" srcOrd="0" destOrd="0" presId="urn:microsoft.com/office/officeart/2008/layout/HexagonCluster"/>
    <dgm:cxn modelId="{102DF13B-1CC7-4B8A-A2C4-0E1D1FEAF1EE}" type="presParOf" srcId="{50F39734-2B56-4566-90A6-7E966723E45E}" destId="{22BBC150-E404-4E31-B616-073DD3628B3D}" srcOrd="2" destOrd="0" presId="urn:microsoft.com/office/officeart/2008/layout/HexagonCluster"/>
    <dgm:cxn modelId="{1E967A39-0325-4B7C-8FD3-BA94CE59956A}" type="presParOf" srcId="{22BBC150-E404-4E31-B616-073DD3628B3D}" destId="{2AAE2322-1E56-49B7-AA65-8E86458E2CC3}" srcOrd="0" destOrd="0" presId="urn:microsoft.com/office/officeart/2008/layout/HexagonCluster"/>
    <dgm:cxn modelId="{5A9EEE4C-D3B8-472C-9DC1-55B8C81E74F2}" type="presParOf" srcId="{50F39734-2B56-4566-90A6-7E966723E45E}" destId="{D475AEF7-9EF3-4BB4-9861-9278F2A7F274}" srcOrd="3" destOrd="0" presId="urn:microsoft.com/office/officeart/2008/layout/HexagonCluster"/>
    <dgm:cxn modelId="{1288CB2A-A987-445C-BE51-1013E3538638}" type="presParOf" srcId="{D475AEF7-9EF3-4BB4-9861-9278F2A7F274}" destId="{10B996C2-2858-42F7-80C2-933166A3BD69}" srcOrd="0" destOrd="0" presId="urn:microsoft.com/office/officeart/2008/layout/HexagonCluster"/>
    <dgm:cxn modelId="{29D24D09-5F22-44A3-82B9-7D97C472869E}" type="presParOf" srcId="{50F39734-2B56-4566-90A6-7E966723E45E}" destId="{937DB15A-8902-4C54-A16F-712B91D2A751}" srcOrd="4" destOrd="0" presId="urn:microsoft.com/office/officeart/2008/layout/HexagonCluster"/>
    <dgm:cxn modelId="{D334A74D-39C4-4735-AD02-2BE6573D2804}" type="presParOf" srcId="{937DB15A-8902-4C54-A16F-712B91D2A751}" destId="{4DFEE8F9-4068-42A7-8F01-FC5207FE23B5}" srcOrd="0" destOrd="0" presId="urn:microsoft.com/office/officeart/2008/layout/HexagonCluster"/>
    <dgm:cxn modelId="{1BD297B0-602C-4256-8DA1-D00473D1685F}" type="presParOf" srcId="{50F39734-2B56-4566-90A6-7E966723E45E}" destId="{E4D8D6FD-38E0-43A0-B86F-CE11A2932FA7}" srcOrd="5" destOrd="0" presId="urn:microsoft.com/office/officeart/2008/layout/HexagonCluster"/>
    <dgm:cxn modelId="{46FEA020-C178-4E2E-A75A-5957642CB3FF}" type="presParOf" srcId="{E4D8D6FD-38E0-43A0-B86F-CE11A2932FA7}" destId="{2242CA68-FD51-43CA-B17C-24C54675352F}" srcOrd="0" destOrd="0" presId="urn:microsoft.com/office/officeart/2008/layout/HexagonCluster"/>
    <dgm:cxn modelId="{661D6B89-88D5-46CD-BDE9-ACA506D4FF35}" type="presParOf" srcId="{50F39734-2B56-4566-90A6-7E966723E45E}" destId="{C62CF373-10D6-4369-BA35-D049CD6AE34D}" srcOrd="6" destOrd="0" presId="urn:microsoft.com/office/officeart/2008/layout/HexagonCluster"/>
    <dgm:cxn modelId="{69894CC3-6FE6-4D03-A84B-D59DE3C6E6C0}" type="presParOf" srcId="{C62CF373-10D6-4369-BA35-D049CD6AE34D}" destId="{91391498-5DB4-43CB-AA6A-5CC0B1AD9455}" srcOrd="0" destOrd="0" presId="urn:microsoft.com/office/officeart/2008/layout/HexagonCluster"/>
    <dgm:cxn modelId="{DB8AA2A1-E99F-463D-8F4A-F7F5F5B38F40}" type="presParOf" srcId="{50F39734-2B56-4566-90A6-7E966723E45E}" destId="{83A7C904-A1AB-475A-B248-DEA119F8D9D6}" srcOrd="7" destOrd="0" presId="urn:microsoft.com/office/officeart/2008/layout/HexagonCluster"/>
    <dgm:cxn modelId="{B0BCC228-7471-4F97-90D0-A50E1588B2AF}" type="presParOf" srcId="{83A7C904-A1AB-475A-B248-DEA119F8D9D6}" destId="{D94243D9-4801-4475-ACA7-813677F4B24D}" srcOrd="0" destOrd="0" presId="urn:microsoft.com/office/officeart/2008/layout/HexagonCluster"/>
    <dgm:cxn modelId="{80DDD136-B773-4F61-81FA-8CFF696F7740}" type="presParOf" srcId="{50F39734-2B56-4566-90A6-7E966723E45E}" destId="{209E0BE7-49B4-4D58-B40A-96CE18050CA2}" srcOrd="8" destOrd="0" presId="urn:microsoft.com/office/officeart/2008/layout/HexagonCluster"/>
    <dgm:cxn modelId="{15459214-E6BB-478D-AB78-83431B2B4C6E}" type="presParOf" srcId="{209E0BE7-49B4-4D58-B40A-96CE18050CA2}" destId="{AC181669-A613-4813-872D-BC8095401457}" srcOrd="0" destOrd="0" presId="urn:microsoft.com/office/officeart/2008/layout/HexagonCluster"/>
    <dgm:cxn modelId="{95C33AA7-569F-4CED-A6FC-DA36D1E68125}" type="presParOf" srcId="{50F39734-2B56-4566-90A6-7E966723E45E}" destId="{9AC5F32E-A7B1-42E6-9F88-4C5F83E09744}" srcOrd="9" destOrd="0" presId="urn:microsoft.com/office/officeart/2008/layout/HexagonCluster"/>
    <dgm:cxn modelId="{B905601D-89E2-460B-8C9F-CCEE678A004B}" type="presParOf" srcId="{9AC5F32E-A7B1-42E6-9F88-4C5F83E09744}" destId="{A148FA51-B114-40B9-BCCB-E9E8C8542E2B}" srcOrd="0" destOrd="0" presId="urn:microsoft.com/office/officeart/2008/layout/HexagonCluster"/>
    <dgm:cxn modelId="{2BA6C0AB-B94B-4E4B-864B-B073FB12F089}" type="presParOf" srcId="{50F39734-2B56-4566-90A6-7E966723E45E}" destId="{A087312E-7623-49EE-9510-0A9C93C6A2CB}" srcOrd="10" destOrd="0" presId="urn:microsoft.com/office/officeart/2008/layout/HexagonCluster"/>
    <dgm:cxn modelId="{D0B6BFE9-EBAC-4588-949C-CE0B3C1A8BCE}" type="presParOf" srcId="{A087312E-7623-49EE-9510-0A9C93C6A2CB}" destId="{9A7D8DF1-B62D-49B4-B26A-21E6F604983A}" srcOrd="0" destOrd="0" presId="urn:microsoft.com/office/officeart/2008/layout/HexagonCluster"/>
    <dgm:cxn modelId="{A133641E-785D-412A-9BCE-B304ED615C82}" type="presParOf" srcId="{50F39734-2B56-4566-90A6-7E966723E45E}" destId="{44151976-702C-46F2-96EB-C7A07C0EC853}" srcOrd="11" destOrd="0" presId="urn:microsoft.com/office/officeart/2008/layout/HexagonCluster"/>
    <dgm:cxn modelId="{CC884DD2-E263-41D2-AAB2-B86B045F79BD}" type="presParOf" srcId="{44151976-702C-46F2-96EB-C7A07C0EC853}" destId="{2D1DD9BC-A46A-4D58-93EE-A0E5058003E4}" srcOrd="0" destOrd="0" presId="urn:microsoft.com/office/officeart/2008/layout/HexagonCluster"/>
    <dgm:cxn modelId="{9FE646FB-A514-46F1-896A-DB004A706489}" type="presParOf" srcId="{50F39734-2B56-4566-90A6-7E966723E45E}" destId="{13F7717D-1923-446A-A0C9-195C75C23B0A}" srcOrd="12" destOrd="0" presId="urn:microsoft.com/office/officeart/2008/layout/HexagonCluster"/>
    <dgm:cxn modelId="{6B5C5101-C08E-4EC7-ADBC-81B247A4C9B7}" type="presParOf" srcId="{13F7717D-1923-446A-A0C9-195C75C23B0A}" destId="{EEDB2658-DC6B-4C96-94C8-8CCF12238F5C}" srcOrd="0" destOrd="0" presId="urn:microsoft.com/office/officeart/2008/layout/HexagonCluster"/>
    <dgm:cxn modelId="{A906F43A-6180-4278-B84A-0698FDA6822A}" type="presParOf" srcId="{50F39734-2B56-4566-90A6-7E966723E45E}" destId="{103CC0ED-141B-4500-90F0-FD29967305EE}" srcOrd="13" destOrd="0" presId="urn:microsoft.com/office/officeart/2008/layout/HexagonCluster"/>
    <dgm:cxn modelId="{F6A51F8E-3842-4833-A13F-06E47178C92C}" type="presParOf" srcId="{103CC0ED-141B-4500-90F0-FD29967305EE}" destId="{BE6B98DF-6A77-4126-93CB-AC1D630C70F2}" srcOrd="0" destOrd="0" presId="urn:microsoft.com/office/officeart/2008/layout/HexagonCluster"/>
    <dgm:cxn modelId="{06C53A40-61E2-49F0-82B6-D694A2B5BB0B}" type="presParOf" srcId="{50F39734-2B56-4566-90A6-7E966723E45E}" destId="{E733B375-4CFE-4B40-AEDA-E74AFA4D181B}" srcOrd="14" destOrd="0" presId="urn:microsoft.com/office/officeart/2008/layout/HexagonCluster"/>
    <dgm:cxn modelId="{44FCEBD0-0E37-42EA-9A56-B64D0877919F}" type="presParOf" srcId="{E733B375-4CFE-4B40-AEDA-E74AFA4D181B}" destId="{BB5BE434-E2E0-4C72-8608-CF593276544B}" srcOrd="0" destOrd="0" presId="urn:microsoft.com/office/officeart/2008/layout/HexagonCluster"/>
    <dgm:cxn modelId="{FBA52AD5-EA7F-495C-8EEF-5BB88A7897FF}" type="presParOf" srcId="{50F39734-2B56-4566-90A6-7E966723E45E}" destId="{F6CE5567-249E-44E6-815E-283AFDE82B27}" srcOrd="15" destOrd="0" presId="urn:microsoft.com/office/officeart/2008/layout/HexagonCluster"/>
    <dgm:cxn modelId="{7579F90E-DF88-4F13-8434-D901AE728556}" type="presParOf" srcId="{F6CE5567-249E-44E6-815E-283AFDE82B27}" destId="{7C6D87B4-AF15-4A03-AC83-1AEC22A09148}" srcOrd="0" destOrd="0" presId="urn:microsoft.com/office/officeart/2008/layout/HexagonCluster"/>
    <dgm:cxn modelId="{65932DDA-E62C-4CCD-88CE-EF6B9E753B89}" type="presParOf" srcId="{50F39734-2B56-4566-90A6-7E966723E45E}" destId="{36FF8F8D-075E-4408-9BEC-6B8F8422DDA4}" srcOrd="16" destOrd="0" presId="urn:microsoft.com/office/officeart/2008/layout/HexagonCluster"/>
    <dgm:cxn modelId="{7FBB272A-C550-4728-8E69-511FC24B97BB}" type="presParOf" srcId="{36FF8F8D-075E-4408-9BEC-6B8F8422DDA4}" destId="{D1A08AA4-DF44-46B7-90DB-2DACA574EB45}" srcOrd="0" destOrd="0" presId="urn:microsoft.com/office/officeart/2008/layout/HexagonCluster"/>
    <dgm:cxn modelId="{DDC80D6F-5328-4410-A991-E815059B8268}" type="presParOf" srcId="{50F39734-2B56-4566-90A6-7E966723E45E}" destId="{0DF3CF1B-0958-4799-9353-8DDE76DD8369}" srcOrd="17" destOrd="0" presId="urn:microsoft.com/office/officeart/2008/layout/HexagonCluster"/>
    <dgm:cxn modelId="{BD3FEE3F-7DFA-46DE-9C1B-2AD29E112544}" type="presParOf" srcId="{0DF3CF1B-0958-4799-9353-8DDE76DD8369}" destId="{6B1A341E-CE99-41D5-933F-C047641B6B49}" srcOrd="0" destOrd="0" presId="urn:microsoft.com/office/officeart/2008/layout/HexagonCluster"/>
    <dgm:cxn modelId="{3354BE1F-B726-4C6F-AF38-12AC38B29F86}" type="presParOf" srcId="{50F39734-2B56-4566-90A6-7E966723E45E}" destId="{AC4C8958-6C52-4450-A135-4F0327F1DD69}" srcOrd="18" destOrd="0" presId="urn:microsoft.com/office/officeart/2008/layout/HexagonCluster"/>
    <dgm:cxn modelId="{2007F650-2B11-4048-8A01-00428014E789}" type="presParOf" srcId="{AC4C8958-6C52-4450-A135-4F0327F1DD69}" destId="{7E83609A-2154-41A2-B05A-C8600A910AD9}" srcOrd="0" destOrd="0" presId="urn:microsoft.com/office/officeart/2008/layout/HexagonCluster"/>
    <dgm:cxn modelId="{52EB31FA-5C9D-494C-BF25-42FC3BB0C161}" type="presParOf" srcId="{50F39734-2B56-4566-90A6-7E966723E45E}" destId="{DFDBD9D0-E059-45C6-8C9D-EA1126EF1213}" srcOrd="19" destOrd="0" presId="urn:microsoft.com/office/officeart/2008/layout/HexagonCluster"/>
    <dgm:cxn modelId="{37CE46AD-ACBC-4639-85ED-BB6F13697A59}" type="presParOf" srcId="{DFDBD9D0-E059-45C6-8C9D-EA1126EF1213}" destId="{CA6C3805-BCAC-47FF-ADEC-5FCC013A62D8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1A87805-0914-4BEC-B4A1-3A4A7897F4E6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82EB8BA-EF32-48AC-840C-2896EC23F754}">
      <dgm:prSet phldrT="[Text]"/>
      <dgm:spPr>
        <a:solidFill>
          <a:srgbClr val="640666"/>
        </a:solidFill>
      </dgm:spPr>
      <dgm:t>
        <a:bodyPr/>
        <a:lstStyle/>
        <a:p>
          <a:r>
            <a:rPr lang="en-GB" dirty="0" smtClean="0"/>
            <a:t> </a:t>
          </a:r>
          <a:endParaRPr lang="en-GB" dirty="0"/>
        </a:p>
      </dgm:t>
    </dgm:pt>
    <dgm:pt modelId="{4B5600B3-6FD2-4E1B-B390-C350886B7F98}" type="parTrans" cxnId="{1F572BAA-BC5A-4739-A34D-5D0E65EF6238}">
      <dgm:prSet/>
      <dgm:spPr/>
      <dgm:t>
        <a:bodyPr/>
        <a:lstStyle/>
        <a:p>
          <a:endParaRPr lang="en-GB"/>
        </a:p>
      </dgm:t>
    </dgm:pt>
    <dgm:pt modelId="{3A2E6E83-00AE-43AE-A815-C9B1C97236BA}" type="sibTrans" cxnId="{1F572BAA-BC5A-4739-A34D-5D0E65EF6238}">
      <dgm:prSet/>
      <dgm:spPr>
        <a:solidFill>
          <a:srgbClr val="640666">
            <a:alpha val="45000"/>
          </a:srgbClr>
        </a:solidFill>
      </dgm:spPr>
      <dgm:t>
        <a:bodyPr/>
        <a:lstStyle/>
        <a:p>
          <a:endParaRPr lang="en-GB"/>
        </a:p>
      </dgm:t>
    </dgm:pt>
    <dgm:pt modelId="{D88EEA2F-63D7-4E43-94A3-34B5F6A7BA2D}">
      <dgm:prSet phldrT="[Text]"/>
      <dgm:spPr>
        <a:solidFill>
          <a:srgbClr val="C00000"/>
        </a:solidFill>
      </dgm:spPr>
      <dgm:t>
        <a:bodyPr/>
        <a:lstStyle/>
        <a:p>
          <a:r>
            <a:rPr lang="en-GB" dirty="0" smtClean="0"/>
            <a:t> </a:t>
          </a:r>
          <a:endParaRPr lang="en-GB" dirty="0"/>
        </a:p>
      </dgm:t>
    </dgm:pt>
    <dgm:pt modelId="{D8855C8F-EC18-45DA-B07A-F215167ECF28}" type="parTrans" cxnId="{13F8B622-3AA1-4235-AF23-A8B6863EDD04}">
      <dgm:prSet/>
      <dgm:spPr/>
      <dgm:t>
        <a:bodyPr/>
        <a:lstStyle/>
        <a:p>
          <a:endParaRPr lang="en-GB"/>
        </a:p>
      </dgm:t>
    </dgm:pt>
    <dgm:pt modelId="{68380E38-7B2D-4F79-996E-D2035F62AC14}" type="sibTrans" cxnId="{13F8B622-3AA1-4235-AF23-A8B6863EDD04}">
      <dgm:prSet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endParaRPr lang="en-GB"/>
        </a:p>
      </dgm:t>
    </dgm:pt>
    <dgm:pt modelId="{6E690552-16BC-47C2-8BAC-BC314EE79F91}">
      <dgm:prSet phldrT="[Text]"/>
      <dgm:spPr>
        <a:solidFill>
          <a:srgbClr val="00AEEF"/>
        </a:solidFill>
      </dgm:spPr>
      <dgm:t>
        <a:bodyPr/>
        <a:lstStyle/>
        <a:p>
          <a:r>
            <a:rPr lang="en-GB" dirty="0" smtClean="0"/>
            <a:t> </a:t>
          </a:r>
          <a:endParaRPr lang="en-GB" dirty="0"/>
        </a:p>
      </dgm:t>
    </dgm:pt>
    <dgm:pt modelId="{186081E6-C28C-4BE4-8BF1-9BE62A80A2FF}" type="parTrans" cxnId="{2624198D-F970-4F3E-82C8-C0D138651B85}">
      <dgm:prSet/>
      <dgm:spPr/>
      <dgm:t>
        <a:bodyPr/>
        <a:lstStyle/>
        <a:p>
          <a:endParaRPr lang="en-GB"/>
        </a:p>
      </dgm:t>
    </dgm:pt>
    <dgm:pt modelId="{5EB2CC3E-1A34-4745-B1BB-D793DEAFFEF5}" type="sibTrans" cxnId="{2624198D-F970-4F3E-82C8-C0D138651B85}">
      <dgm:prSet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endParaRPr lang="en-GB"/>
        </a:p>
      </dgm:t>
    </dgm:pt>
    <dgm:pt modelId="{DA4FA63B-4AD1-459D-ABCB-5AEE9D03451F}" type="pres">
      <dgm:prSet presAssocID="{C1A87805-0914-4BEC-B4A1-3A4A7897F4E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AE20D8EA-E805-4BCB-A65B-5DEAB3DFBF5D}" type="pres">
      <dgm:prSet presAssocID="{F82EB8BA-EF32-48AC-840C-2896EC23F754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A90B8EB-C0EE-4D30-B525-28D1FB72EDAE}" type="pres">
      <dgm:prSet presAssocID="{3A2E6E83-00AE-43AE-A815-C9B1C97236BA}" presName="sibTrans" presStyleLbl="sibTrans2D1" presStyleIdx="0" presStyleCnt="3" custAng="17591465" custLinFactX="127025" custLinFactNeighborX="200000" custLinFactNeighborY="-12194"/>
      <dgm:spPr/>
      <dgm:t>
        <a:bodyPr/>
        <a:lstStyle/>
        <a:p>
          <a:endParaRPr lang="en-GB"/>
        </a:p>
      </dgm:t>
    </dgm:pt>
    <dgm:pt modelId="{CAE38CAD-D256-4AD3-B1EB-2BAD24A8400B}" type="pres">
      <dgm:prSet presAssocID="{3A2E6E83-00AE-43AE-A815-C9B1C97236BA}" presName="connectorText" presStyleLbl="sibTrans2D1" presStyleIdx="0" presStyleCnt="3"/>
      <dgm:spPr/>
      <dgm:t>
        <a:bodyPr/>
        <a:lstStyle/>
        <a:p>
          <a:endParaRPr lang="en-GB"/>
        </a:p>
      </dgm:t>
    </dgm:pt>
    <dgm:pt modelId="{3439D3E9-14DC-4437-8B15-8007CFDDAB68}" type="pres">
      <dgm:prSet presAssocID="{D88EEA2F-63D7-4E43-94A3-34B5F6A7BA2D}" presName="node" presStyleLbl="node1" presStyleIdx="1" presStyleCnt="3" custRadScaleRad="98319" custRadScaleInc="202679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8D5941B-655E-4C4B-B48B-F31FB3779985}" type="pres">
      <dgm:prSet presAssocID="{68380E38-7B2D-4F79-996E-D2035F62AC14}" presName="sibTrans" presStyleLbl="sibTrans2D1" presStyleIdx="1" presStyleCnt="3" custAng="18299231" custLinFactX="-57250" custLinFactY="-100000" custLinFactNeighborX="-100000" custLinFactNeighborY="-102631"/>
      <dgm:spPr/>
      <dgm:t>
        <a:bodyPr/>
        <a:lstStyle/>
        <a:p>
          <a:endParaRPr lang="en-GB"/>
        </a:p>
      </dgm:t>
    </dgm:pt>
    <dgm:pt modelId="{90A459E8-649B-4572-BF41-30BA670B2D7B}" type="pres">
      <dgm:prSet presAssocID="{68380E38-7B2D-4F79-996E-D2035F62AC14}" presName="connectorText" presStyleLbl="sibTrans2D1" presStyleIdx="1" presStyleCnt="3"/>
      <dgm:spPr/>
      <dgm:t>
        <a:bodyPr/>
        <a:lstStyle/>
        <a:p>
          <a:endParaRPr lang="en-GB"/>
        </a:p>
      </dgm:t>
    </dgm:pt>
    <dgm:pt modelId="{946038BC-FCB5-4D83-9914-80C71FD38B91}" type="pres">
      <dgm:prSet presAssocID="{6E690552-16BC-47C2-8BAC-BC314EE79F91}" presName="node" presStyleLbl="node1" presStyleIdx="2" presStyleCnt="3" custRadScaleRad="98746" custRadScaleInc="-20272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A6964BF-CFB5-4E24-BB63-3B528DA84D93}" type="pres">
      <dgm:prSet presAssocID="{5EB2CC3E-1A34-4745-B1BB-D793DEAFFEF5}" presName="sibTrans" presStyleLbl="sibTrans2D1" presStyleIdx="2" presStyleCnt="3" custAng="18036129" custLinFactX="-45166" custLinFactY="91578" custLinFactNeighborX="-100000" custLinFactNeighborY="100000"/>
      <dgm:spPr/>
      <dgm:t>
        <a:bodyPr/>
        <a:lstStyle/>
        <a:p>
          <a:endParaRPr lang="en-GB"/>
        </a:p>
      </dgm:t>
    </dgm:pt>
    <dgm:pt modelId="{29BA90AE-616F-4CF0-A70E-54E94CD9D45E}" type="pres">
      <dgm:prSet presAssocID="{5EB2CC3E-1A34-4745-B1BB-D793DEAFFEF5}" presName="connectorText" presStyleLbl="sibTrans2D1" presStyleIdx="2" presStyleCnt="3"/>
      <dgm:spPr/>
      <dgm:t>
        <a:bodyPr/>
        <a:lstStyle/>
        <a:p>
          <a:endParaRPr lang="en-GB"/>
        </a:p>
      </dgm:t>
    </dgm:pt>
  </dgm:ptLst>
  <dgm:cxnLst>
    <dgm:cxn modelId="{E2554715-C205-4477-8DDC-602BF884E987}" type="presOf" srcId="{5EB2CC3E-1A34-4745-B1BB-D793DEAFFEF5}" destId="{4A6964BF-CFB5-4E24-BB63-3B528DA84D93}" srcOrd="0" destOrd="0" presId="urn:microsoft.com/office/officeart/2005/8/layout/cycle2"/>
    <dgm:cxn modelId="{6BA33812-9CB3-4979-8505-20CF9AE3927E}" type="presOf" srcId="{3A2E6E83-00AE-43AE-A815-C9B1C97236BA}" destId="{CAE38CAD-D256-4AD3-B1EB-2BAD24A8400B}" srcOrd="1" destOrd="0" presId="urn:microsoft.com/office/officeart/2005/8/layout/cycle2"/>
    <dgm:cxn modelId="{0BE37FAB-A4AC-4B77-B00B-A98F36C4CFD0}" type="presOf" srcId="{F82EB8BA-EF32-48AC-840C-2896EC23F754}" destId="{AE20D8EA-E805-4BCB-A65B-5DEAB3DFBF5D}" srcOrd="0" destOrd="0" presId="urn:microsoft.com/office/officeart/2005/8/layout/cycle2"/>
    <dgm:cxn modelId="{1F572BAA-BC5A-4739-A34D-5D0E65EF6238}" srcId="{C1A87805-0914-4BEC-B4A1-3A4A7897F4E6}" destId="{F82EB8BA-EF32-48AC-840C-2896EC23F754}" srcOrd="0" destOrd="0" parTransId="{4B5600B3-6FD2-4E1B-B390-C350886B7F98}" sibTransId="{3A2E6E83-00AE-43AE-A815-C9B1C97236BA}"/>
    <dgm:cxn modelId="{C4E72227-611C-41AA-BD7A-1AA90E813F2B}" type="presOf" srcId="{5EB2CC3E-1A34-4745-B1BB-D793DEAFFEF5}" destId="{29BA90AE-616F-4CF0-A70E-54E94CD9D45E}" srcOrd="1" destOrd="0" presId="urn:microsoft.com/office/officeart/2005/8/layout/cycle2"/>
    <dgm:cxn modelId="{2624198D-F970-4F3E-82C8-C0D138651B85}" srcId="{C1A87805-0914-4BEC-B4A1-3A4A7897F4E6}" destId="{6E690552-16BC-47C2-8BAC-BC314EE79F91}" srcOrd="2" destOrd="0" parTransId="{186081E6-C28C-4BE4-8BF1-9BE62A80A2FF}" sibTransId="{5EB2CC3E-1A34-4745-B1BB-D793DEAFFEF5}"/>
    <dgm:cxn modelId="{365D4D19-4357-4285-BFE7-511C26DB6ECC}" type="presOf" srcId="{3A2E6E83-00AE-43AE-A815-C9B1C97236BA}" destId="{5A90B8EB-C0EE-4D30-B525-28D1FB72EDAE}" srcOrd="0" destOrd="0" presId="urn:microsoft.com/office/officeart/2005/8/layout/cycle2"/>
    <dgm:cxn modelId="{DF61EC83-28CF-41DD-94DD-16D47EEBBCF9}" type="presOf" srcId="{C1A87805-0914-4BEC-B4A1-3A4A7897F4E6}" destId="{DA4FA63B-4AD1-459D-ABCB-5AEE9D03451F}" srcOrd="0" destOrd="0" presId="urn:microsoft.com/office/officeart/2005/8/layout/cycle2"/>
    <dgm:cxn modelId="{F18C8545-86F0-4685-BE59-CDF36684230E}" type="presOf" srcId="{6E690552-16BC-47C2-8BAC-BC314EE79F91}" destId="{946038BC-FCB5-4D83-9914-80C71FD38B91}" srcOrd="0" destOrd="0" presId="urn:microsoft.com/office/officeart/2005/8/layout/cycle2"/>
    <dgm:cxn modelId="{61E4724C-DDD0-44B9-9DBB-F89117A9BA7E}" type="presOf" srcId="{D88EEA2F-63D7-4E43-94A3-34B5F6A7BA2D}" destId="{3439D3E9-14DC-4437-8B15-8007CFDDAB68}" srcOrd="0" destOrd="0" presId="urn:microsoft.com/office/officeart/2005/8/layout/cycle2"/>
    <dgm:cxn modelId="{25C2D10B-CEE4-4FE3-9FB9-814137D8C7C7}" type="presOf" srcId="{68380E38-7B2D-4F79-996E-D2035F62AC14}" destId="{90A459E8-649B-4572-BF41-30BA670B2D7B}" srcOrd="1" destOrd="0" presId="urn:microsoft.com/office/officeart/2005/8/layout/cycle2"/>
    <dgm:cxn modelId="{13F8B622-3AA1-4235-AF23-A8B6863EDD04}" srcId="{C1A87805-0914-4BEC-B4A1-3A4A7897F4E6}" destId="{D88EEA2F-63D7-4E43-94A3-34B5F6A7BA2D}" srcOrd="1" destOrd="0" parTransId="{D8855C8F-EC18-45DA-B07A-F215167ECF28}" sibTransId="{68380E38-7B2D-4F79-996E-D2035F62AC14}"/>
    <dgm:cxn modelId="{34F4D4CC-C50C-40E9-9518-BF08CD10F27D}" type="presOf" srcId="{68380E38-7B2D-4F79-996E-D2035F62AC14}" destId="{B8D5941B-655E-4C4B-B48B-F31FB3779985}" srcOrd="0" destOrd="0" presId="urn:microsoft.com/office/officeart/2005/8/layout/cycle2"/>
    <dgm:cxn modelId="{1436A42A-460A-47B2-B278-5FD473F328D8}" type="presParOf" srcId="{DA4FA63B-4AD1-459D-ABCB-5AEE9D03451F}" destId="{AE20D8EA-E805-4BCB-A65B-5DEAB3DFBF5D}" srcOrd="0" destOrd="0" presId="urn:microsoft.com/office/officeart/2005/8/layout/cycle2"/>
    <dgm:cxn modelId="{7B6B86FF-5B3C-412D-A539-FA70A94D1168}" type="presParOf" srcId="{DA4FA63B-4AD1-459D-ABCB-5AEE9D03451F}" destId="{5A90B8EB-C0EE-4D30-B525-28D1FB72EDAE}" srcOrd="1" destOrd="0" presId="urn:microsoft.com/office/officeart/2005/8/layout/cycle2"/>
    <dgm:cxn modelId="{D88C855E-3401-47F5-B56E-A1C1DBB57414}" type="presParOf" srcId="{5A90B8EB-C0EE-4D30-B525-28D1FB72EDAE}" destId="{CAE38CAD-D256-4AD3-B1EB-2BAD24A8400B}" srcOrd="0" destOrd="0" presId="urn:microsoft.com/office/officeart/2005/8/layout/cycle2"/>
    <dgm:cxn modelId="{B430ABC6-4371-4E7D-89D1-DA740D8EE614}" type="presParOf" srcId="{DA4FA63B-4AD1-459D-ABCB-5AEE9D03451F}" destId="{3439D3E9-14DC-4437-8B15-8007CFDDAB68}" srcOrd="2" destOrd="0" presId="urn:microsoft.com/office/officeart/2005/8/layout/cycle2"/>
    <dgm:cxn modelId="{3A5466F3-7D35-499D-8653-9F2AF9E07501}" type="presParOf" srcId="{DA4FA63B-4AD1-459D-ABCB-5AEE9D03451F}" destId="{B8D5941B-655E-4C4B-B48B-F31FB3779985}" srcOrd="3" destOrd="0" presId="urn:microsoft.com/office/officeart/2005/8/layout/cycle2"/>
    <dgm:cxn modelId="{D3CB6589-C4C5-4F2F-8CBE-8764A72BD652}" type="presParOf" srcId="{B8D5941B-655E-4C4B-B48B-F31FB3779985}" destId="{90A459E8-649B-4572-BF41-30BA670B2D7B}" srcOrd="0" destOrd="0" presId="urn:microsoft.com/office/officeart/2005/8/layout/cycle2"/>
    <dgm:cxn modelId="{9FB6AE27-AFBF-4A8F-AB54-85F2FD98CBA5}" type="presParOf" srcId="{DA4FA63B-4AD1-459D-ABCB-5AEE9D03451F}" destId="{946038BC-FCB5-4D83-9914-80C71FD38B91}" srcOrd="4" destOrd="0" presId="urn:microsoft.com/office/officeart/2005/8/layout/cycle2"/>
    <dgm:cxn modelId="{EF5F8381-D289-4330-8A88-FCF7DD5D8359}" type="presParOf" srcId="{DA4FA63B-4AD1-459D-ABCB-5AEE9D03451F}" destId="{4A6964BF-CFB5-4E24-BB63-3B528DA84D93}" srcOrd="5" destOrd="0" presId="urn:microsoft.com/office/officeart/2005/8/layout/cycle2"/>
    <dgm:cxn modelId="{FFCE0E0E-C9A0-4F64-8BCD-A70F21D3973A}" type="presParOf" srcId="{4A6964BF-CFB5-4E24-BB63-3B528DA84D93}" destId="{29BA90AE-616F-4CF0-A70E-54E94CD9D45E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F2530E-D62B-43A8-A78D-3F2B53E81FC3}">
      <dsp:nvSpPr>
        <dsp:cNvPr id="0" name=""/>
        <dsp:cNvSpPr/>
      </dsp:nvSpPr>
      <dsp:spPr>
        <a:xfrm>
          <a:off x="2638348" y="6289511"/>
          <a:ext cx="3065881" cy="2632150"/>
        </a:xfrm>
        <a:prstGeom prst="hexagon">
          <a:avLst>
            <a:gd name="adj" fmla="val 25000"/>
            <a:gd name="vf" fmla="val 11547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35560" rIns="0" bIns="35560" numCol="1" spcCol="1270" anchor="ctr" anchorCtr="0">
          <a:noAutofit/>
          <a:sp3d extrusionH="28000" prstMaterial="matte"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Talent Management</a:t>
          </a:r>
          <a:endParaRPr lang="en-US" sz="2800" kern="1200" dirty="0"/>
        </a:p>
      </dsp:txBody>
      <dsp:txXfrm>
        <a:off x="3113184" y="6697172"/>
        <a:ext cx="2116209" cy="1816828"/>
      </dsp:txXfrm>
    </dsp:sp>
    <dsp:sp modelId="{FDBFE483-988D-41B9-888B-8B2A004874F2}">
      <dsp:nvSpPr>
        <dsp:cNvPr id="0" name=""/>
        <dsp:cNvSpPr/>
      </dsp:nvSpPr>
      <dsp:spPr>
        <a:xfrm>
          <a:off x="2711500" y="7466517"/>
          <a:ext cx="357632" cy="30826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AAE2322-1E56-49B7-AA65-8E86458E2CC3}">
      <dsp:nvSpPr>
        <dsp:cNvPr id="0" name=""/>
        <dsp:cNvSpPr/>
      </dsp:nvSpPr>
      <dsp:spPr>
        <a:xfrm>
          <a:off x="0" y="4834366"/>
          <a:ext cx="3065881" cy="263215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0B996C2-2858-42F7-80C2-933166A3BD69}">
      <dsp:nvSpPr>
        <dsp:cNvPr id="0" name=""/>
        <dsp:cNvSpPr/>
      </dsp:nvSpPr>
      <dsp:spPr>
        <a:xfrm>
          <a:off x="2100275" y="7116918"/>
          <a:ext cx="357632" cy="30826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DFEE8F9-4068-42A7-8F01-FC5207FE23B5}">
      <dsp:nvSpPr>
        <dsp:cNvPr id="0" name=""/>
        <dsp:cNvSpPr/>
      </dsp:nvSpPr>
      <dsp:spPr>
        <a:xfrm>
          <a:off x="5276697" y="4825959"/>
          <a:ext cx="3065881" cy="2632150"/>
        </a:xfrm>
        <a:prstGeom prst="hexagon">
          <a:avLst>
            <a:gd name="adj" fmla="val 25000"/>
            <a:gd name="vf" fmla="val 115470"/>
          </a:avLst>
        </a:prstGeom>
        <a:solidFill>
          <a:schemeClr val="accent4">
            <a:hueOff val="-249387"/>
            <a:satOff val="1905"/>
            <a:lumOff val="-1569"/>
            <a:alphaOff val="0"/>
          </a:schemeClr>
        </a:solidFill>
        <a:ln w="9525" cap="flat" cmpd="sng" algn="ctr">
          <a:solidFill>
            <a:schemeClr val="accent4">
              <a:hueOff val="-249387"/>
              <a:satOff val="1905"/>
              <a:lumOff val="-1569"/>
              <a:alphaOff val="0"/>
            </a:schemeClr>
          </a:solidFill>
          <a:prstDash val="solid"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35560" rIns="0" bIns="35560" numCol="1" spcCol="1270" anchor="ctr" anchorCtr="0">
          <a:noAutofit/>
          <a:sp3d extrusionH="28000" prstMaterial="matte"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Leadership Development</a:t>
          </a:r>
          <a:endParaRPr lang="en-US" sz="2800" kern="1200" dirty="0"/>
        </a:p>
      </dsp:txBody>
      <dsp:txXfrm>
        <a:off x="5751533" y="5233620"/>
        <a:ext cx="2116209" cy="1816828"/>
      </dsp:txXfrm>
    </dsp:sp>
    <dsp:sp modelId="{2242CA68-FD51-43CA-B17C-24C54675352F}">
      <dsp:nvSpPr>
        <dsp:cNvPr id="0" name=""/>
        <dsp:cNvSpPr/>
      </dsp:nvSpPr>
      <dsp:spPr>
        <a:xfrm>
          <a:off x="7386726" y="7102906"/>
          <a:ext cx="357632" cy="30826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1391498-5DB4-43CB-AA6A-5CC0B1AD9455}">
      <dsp:nvSpPr>
        <dsp:cNvPr id="0" name=""/>
        <dsp:cNvSpPr/>
      </dsp:nvSpPr>
      <dsp:spPr>
        <a:xfrm>
          <a:off x="7913420" y="6283906"/>
          <a:ext cx="3065881" cy="263215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94243D9-4801-4475-ACA7-813677F4B24D}">
      <dsp:nvSpPr>
        <dsp:cNvPr id="0" name=""/>
        <dsp:cNvSpPr/>
      </dsp:nvSpPr>
      <dsp:spPr>
        <a:xfrm>
          <a:off x="7988198" y="7455307"/>
          <a:ext cx="357632" cy="30826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C181669-A613-4813-872D-BC8095401457}">
      <dsp:nvSpPr>
        <dsp:cNvPr id="0" name=""/>
        <dsp:cNvSpPr/>
      </dsp:nvSpPr>
      <dsp:spPr>
        <a:xfrm>
          <a:off x="2638348" y="3379222"/>
          <a:ext cx="3065881" cy="2632150"/>
        </a:xfrm>
        <a:prstGeom prst="hexagon">
          <a:avLst>
            <a:gd name="adj" fmla="val 25000"/>
            <a:gd name="vf" fmla="val 115470"/>
          </a:avLst>
        </a:prstGeom>
        <a:solidFill>
          <a:schemeClr val="accent4">
            <a:hueOff val="-498774"/>
            <a:satOff val="3810"/>
            <a:lumOff val="-3137"/>
            <a:alphaOff val="0"/>
          </a:schemeClr>
        </a:solidFill>
        <a:ln w="9525" cap="flat" cmpd="sng" algn="ctr">
          <a:solidFill>
            <a:schemeClr val="accent4">
              <a:hueOff val="-498774"/>
              <a:satOff val="3810"/>
              <a:lumOff val="-3137"/>
              <a:alphaOff val="0"/>
            </a:schemeClr>
          </a:solidFill>
          <a:prstDash val="solid"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35560" rIns="0" bIns="35560" numCol="1" spcCol="1270" anchor="ctr" anchorCtr="0">
          <a:noAutofit/>
          <a:sp3d extrusionH="28000" prstMaterial="matte"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Innovation Trajectory</a:t>
          </a:r>
          <a:endParaRPr lang="en-US" sz="2800" kern="1200" dirty="0"/>
        </a:p>
      </dsp:txBody>
      <dsp:txXfrm>
        <a:off x="3113184" y="3786883"/>
        <a:ext cx="2116209" cy="1816828"/>
      </dsp:txXfrm>
    </dsp:sp>
    <dsp:sp modelId="{A148FA51-B114-40B9-BCCB-E9E8C8542E2B}">
      <dsp:nvSpPr>
        <dsp:cNvPr id="0" name=""/>
        <dsp:cNvSpPr/>
      </dsp:nvSpPr>
      <dsp:spPr>
        <a:xfrm>
          <a:off x="4738624" y="3428965"/>
          <a:ext cx="357632" cy="30826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A7D8DF1-B62D-49B4-B26A-21E6F604983A}">
      <dsp:nvSpPr>
        <dsp:cNvPr id="0" name=""/>
        <dsp:cNvSpPr/>
      </dsp:nvSpPr>
      <dsp:spPr>
        <a:xfrm>
          <a:off x="5276697" y="1915671"/>
          <a:ext cx="3065881" cy="263215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D1DD9BC-A46A-4D58-93EE-A0E5058003E4}">
      <dsp:nvSpPr>
        <dsp:cNvPr id="0" name=""/>
        <dsp:cNvSpPr/>
      </dsp:nvSpPr>
      <dsp:spPr>
        <a:xfrm>
          <a:off x="5362854" y="3082168"/>
          <a:ext cx="357632" cy="30826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EDB2658-DC6B-4C96-94C8-8CCF12238F5C}">
      <dsp:nvSpPr>
        <dsp:cNvPr id="0" name=""/>
        <dsp:cNvSpPr/>
      </dsp:nvSpPr>
      <dsp:spPr>
        <a:xfrm>
          <a:off x="7913420" y="3373617"/>
          <a:ext cx="3065881" cy="2632150"/>
        </a:xfrm>
        <a:prstGeom prst="hexagon">
          <a:avLst>
            <a:gd name="adj" fmla="val 25000"/>
            <a:gd name="vf" fmla="val 115470"/>
          </a:avLst>
        </a:prstGeom>
        <a:solidFill>
          <a:schemeClr val="accent4">
            <a:hueOff val="-748162"/>
            <a:satOff val="5716"/>
            <a:lumOff val="-4706"/>
            <a:alphaOff val="0"/>
          </a:schemeClr>
        </a:solidFill>
        <a:ln w="9525" cap="flat" cmpd="sng" algn="ctr">
          <a:solidFill>
            <a:schemeClr val="accent4">
              <a:hueOff val="-748162"/>
              <a:satOff val="5716"/>
              <a:lumOff val="-4706"/>
              <a:alphaOff val="0"/>
            </a:schemeClr>
          </a:solidFill>
          <a:prstDash val="solid"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35560" rIns="0" bIns="35560" numCol="1" spcCol="1270" anchor="ctr" anchorCtr="0">
          <a:noAutofit/>
          <a:sp3d extrusionH="28000" prstMaterial="matte"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Reputation &amp; Brand</a:t>
          </a:r>
          <a:endParaRPr lang="en-US" sz="2800" kern="1200" dirty="0"/>
        </a:p>
      </dsp:txBody>
      <dsp:txXfrm>
        <a:off x="8388256" y="3781278"/>
        <a:ext cx="2116209" cy="1816828"/>
      </dsp:txXfrm>
    </dsp:sp>
    <dsp:sp modelId="{BE6B98DF-6A77-4126-93CB-AC1D630C70F2}">
      <dsp:nvSpPr>
        <dsp:cNvPr id="0" name=""/>
        <dsp:cNvSpPr/>
      </dsp:nvSpPr>
      <dsp:spPr>
        <a:xfrm>
          <a:off x="10566400" y="4540115"/>
          <a:ext cx="357632" cy="30826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B5BE434-E2E0-4C72-8608-CF593276544B}">
      <dsp:nvSpPr>
        <dsp:cNvPr id="0" name=""/>
        <dsp:cNvSpPr/>
      </dsp:nvSpPr>
      <dsp:spPr>
        <a:xfrm>
          <a:off x="10551769" y="4853283"/>
          <a:ext cx="3065881" cy="263215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8000" r="-18000"/>
          </a:stretch>
        </a:blip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C6D87B4-AF15-4A03-AC83-1AEC22A09148}">
      <dsp:nvSpPr>
        <dsp:cNvPr id="0" name=""/>
        <dsp:cNvSpPr/>
      </dsp:nvSpPr>
      <dsp:spPr>
        <a:xfrm>
          <a:off x="11149990" y="4900923"/>
          <a:ext cx="357632" cy="30826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1A08AA4-DF44-46B7-90DB-2DACA574EB45}">
      <dsp:nvSpPr>
        <dsp:cNvPr id="0" name=""/>
        <dsp:cNvSpPr/>
      </dsp:nvSpPr>
      <dsp:spPr>
        <a:xfrm>
          <a:off x="10551769" y="1943695"/>
          <a:ext cx="3065881" cy="2632150"/>
        </a:xfrm>
        <a:prstGeom prst="hexagon">
          <a:avLst>
            <a:gd name="adj" fmla="val 25000"/>
            <a:gd name="vf" fmla="val 115470"/>
          </a:avLst>
        </a:prstGeom>
        <a:solidFill>
          <a:schemeClr val="accent4">
            <a:hueOff val="-997549"/>
            <a:satOff val="7621"/>
            <a:lumOff val="-6275"/>
            <a:alphaOff val="0"/>
          </a:schemeClr>
        </a:solidFill>
        <a:ln w="9525" cap="flat" cmpd="sng" algn="ctr">
          <a:solidFill>
            <a:schemeClr val="accent4">
              <a:hueOff val="-997549"/>
              <a:satOff val="7621"/>
              <a:lumOff val="-6275"/>
              <a:alphaOff val="0"/>
            </a:schemeClr>
          </a:solidFill>
          <a:prstDash val="solid"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35560" rIns="0" bIns="35560" numCol="1" spcCol="1270" anchor="ctr" anchorCtr="0">
          <a:noAutofit/>
          <a:sp3d extrusionH="28000" prstMaterial="matte"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Growth</a:t>
          </a:r>
          <a:endParaRPr lang="en-US" sz="2800" kern="1200" dirty="0"/>
        </a:p>
      </dsp:txBody>
      <dsp:txXfrm>
        <a:off x="11026605" y="2351356"/>
        <a:ext cx="2116209" cy="1816828"/>
      </dsp:txXfrm>
    </dsp:sp>
    <dsp:sp modelId="{6B1A341E-CE99-41D5-933F-C047641B6B49}">
      <dsp:nvSpPr>
        <dsp:cNvPr id="0" name=""/>
        <dsp:cNvSpPr/>
      </dsp:nvSpPr>
      <dsp:spPr>
        <a:xfrm>
          <a:off x="13204748" y="3123503"/>
          <a:ext cx="357632" cy="30826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E83609A-2154-41A2-B05A-C8600A910AD9}">
      <dsp:nvSpPr>
        <dsp:cNvPr id="0" name=""/>
        <dsp:cNvSpPr/>
      </dsp:nvSpPr>
      <dsp:spPr>
        <a:xfrm>
          <a:off x="13190118" y="3412150"/>
          <a:ext cx="3065881" cy="2632150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A6C3805-BCAC-47FF-ADEC-5FCC013A62D8}">
      <dsp:nvSpPr>
        <dsp:cNvPr id="0" name=""/>
        <dsp:cNvSpPr/>
      </dsp:nvSpPr>
      <dsp:spPr>
        <a:xfrm>
          <a:off x="13801344" y="3471001"/>
          <a:ext cx="357632" cy="30826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2700" rotWithShape="0">
            <a:srgbClr val="000000">
              <a:alpha val="50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20D8EA-E805-4BCB-A65B-5DEAB3DFBF5D}">
      <dsp:nvSpPr>
        <dsp:cNvPr id="0" name=""/>
        <dsp:cNvSpPr/>
      </dsp:nvSpPr>
      <dsp:spPr>
        <a:xfrm>
          <a:off x="3523317" y="1306"/>
          <a:ext cx="2548783" cy="2548783"/>
        </a:xfrm>
        <a:prstGeom prst="ellipse">
          <a:avLst/>
        </a:prstGeom>
        <a:solidFill>
          <a:srgbClr val="64066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6500" kern="1200" dirty="0" smtClean="0"/>
            <a:t> </a:t>
          </a:r>
          <a:endParaRPr lang="en-GB" sz="6500" kern="1200" dirty="0"/>
        </a:p>
      </dsp:txBody>
      <dsp:txXfrm>
        <a:off x="3896578" y="374567"/>
        <a:ext cx="1802261" cy="1802261"/>
      </dsp:txXfrm>
    </dsp:sp>
    <dsp:sp modelId="{5A90B8EB-C0EE-4D30-B525-28D1FB72EDAE}">
      <dsp:nvSpPr>
        <dsp:cNvPr id="0" name=""/>
        <dsp:cNvSpPr/>
      </dsp:nvSpPr>
      <dsp:spPr>
        <a:xfrm rot="3222314">
          <a:off x="5634141" y="2345844"/>
          <a:ext cx="643433" cy="860214"/>
        </a:xfrm>
        <a:prstGeom prst="rightArrow">
          <a:avLst>
            <a:gd name="adj1" fmla="val 60000"/>
            <a:gd name="adj2" fmla="val 50000"/>
          </a:avLst>
        </a:prstGeom>
        <a:solidFill>
          <a:srgbClr val="640666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3500" kern="1200"/>
        </a:p>
      </dsp:txBody>
      <dsp:txXfrm rot="10800000">
        <a:off x="5673525" y="2440098"/>
        <a:ext cx="450403" cy="516128"/>
      </dsp:txXfrm>
    </dsp:sp>
    <dsp:sp modelId="{3439D3E9-14DC-4437-8B15-8007CFDDAB68}">
      <dsp:nvSpPr>
        <dsp:cNvPr id="0" name=""/>
        <dsp:cNvSpPr/>
      </dsp:nvSpPr>
      <dsp:spPr>
        <a:xfrm>
          <a:off x="1612747" y="3242979"/>
          <a:ext cx="2548783" cy="2548783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6500" kern="1200" dirty="0" smtClean="0"/>
            <a:t> </a:t>
          </a:r>
          <a:endParaRPr lang="en-GB" sz="6500" kern="1200" dirty="0"/>
        </a:p>
      </dsp:txBody>
      <dsp:txXfrm>
        <a:off x="1986008" y="3616240"/>
        <a:ext cx="1802261" cy="1802261"/>
      </dsp:txXfrm>
    </dsp:sp>
    <dsp:sp modelId="{B8D5941B-655E-4C4B-B48B-F31FB3779985}">
      <dsp:nvSpPr>
        <dsp:cNvPr id="0" name=""/>
        <dsp:cNvSpPr/>
      </dsp:nvSpPr>
      <dsp:spPr>
        <a:xfrm rot="18302409">
          <a:off x="3375630" y="2345955"/>
          <a:ext cx="679018" cy="86021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3500" kern="1200"/>
        </a:p>
      </dsp:txBody>
      <dsp:txXfrm>
        <a:off x="3419004" y="2601390"/>
        <a:ext cx="475313" cy="516128"/>
      </dsp:txXfrm>
    </dsp:sp>
    <dsp:sp modelId="{946038BC-FCB5-4D83-9914-80C71FD38B91}">
      <dsp:nvSpPr>
        <dsp:cNvPr id="0" name=""/>
        <dsp:cNvSpPr/>
      </dsp:nvSpPr>
      <dsp:spPr>
        <a:xfrm>
          <a:off x="5442696" y="3246520"/>
          <a:ext cx="2548783" cy="2548783"/>
        </a:xfrm>
        <a:prstGeom prst="ellipse">
          <a:avLst/>
        </a:prstGeom>
        <a:solidFill>
          <a:srgbClr val="00AEE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6500" kern="1200" dirty="0" smtClean="0"/>
            <a:t> </a:t>
          </a:r>
          <a:endParaRPr lang="en-GB" sz="6500" kern="1200" dirty="0"/>
        </a:p>
      </dsp:txBody>
      <dsp:txXfrm>
        <a:off x="5815957" y="3619781"/>
        <a:ext cx="1802261" cy="1802261"/>
      </dsp:txXfrm>
    </dsp:sp>
    <dsp:sp modelId="{4A6964BF-CFB5-4E24-BB63-3B528DA84D93}">
      <dsp:nvSpPr>
        <dsp:cNvPr id="0" name=""/>
        <dsp:cNvSpPr/>
      </dsp:nvSpPr>
      <dsp:spPr>
        <a:xfrm rot="10800000">
          <a:off x="4503177" y="4131950"/>
          <a:ext cx="647422" cy="860214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3500" kern="1200"/>
        </a:p>
      </dsp:txBody>
      <dsp:txXfrm rot="10800000">
        <a:off x="4697404" y="4303993"/>
        <a:ext cx="453195" cy="5161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7999"/>
              </a:lnSpc>
              <a:spcBef>
                <a:spcPts val="0"/>
              </a:spcBef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457200" marR="0" lvl="1" indent="228600" algn="l" rtl="0">
              <a:lnSpc>
                <a:spcPct val="117999"/>
              </a:lnSpc>
              <a:spcBef>
                <a:spcPts val="0"/>
              </a:spcBef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14400" marR="0" lvl="2" indent="457200" algn="l" rtl="0">
              <a:lnSpc>
                <a:spcPct val="117999"/>
              </a:lnSpc>
              <a:spcBef>
                <a:spcPts val="0"/>
              </a:spcBef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371600" marR="0" lvl="3" indent="685800" algn="l" rtl="0">
              <a:lnSpc>
                <a:spcPct val="117999"/>
              </a:lnSpc>
              <a:spcBef>
                <a:spcPts val="0"/>
              </a:spcBef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828800" marR="0" lvl="4" indent="914400" algn="l" rtl="0">
              <a:lnSpc>
                <a:spcPct val="117999"/>
              </a:lnSpc>
              <a:spcBef>
                <a:spcPts val="0"/>
              </a:spcBef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286000" marR="0" lvl="5" indent="1143000" algn="l" rtl="0">
              <a:lnSpc>
                <a:spcPct val="117999"/>
              </a:lnSpc>
              <a:spcBef>
                <a:spcPts val="0"/>
              </a:spcBef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743200" marR="0" lvl="6" indent="1371600" algn="l" rtl="0">
              <a:lnSpc>
                <a:spcPct val="117999"/>
              </a:lnSpc>
              <a:spcBef>
                <a:spcPts val="0"/>
              </a:spcBef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200400" marR="0" lvl="7" indent="1600200" algn="l" rtl="0">
              <a:lnSpc>
                <a:spcPct val="117999"/>
              </a:lnSpc>
              <a:spcBef>
                <a:spcPts val="0"/>
              </a:spcBef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3657600" marR="0" lvl="8" indent="1828800" algn="l" rtl="0">
              <a:lnSpc>
                <a:spcPct val="117999"/>
              </a:lnSpc>
              <a:spcBef>
                <a:spcPts val="0"/>
              </a:spcBef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97342678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Shape 14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41" name="Shape 141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7999"/>
              </a:lnSpc>
              <a:spcBef>
                <a:spcPts val="0"/>
              </a:spcBef>
              <a:buSzPct val="25000"/>
              <a:buNone/>
            </a:pPr>
            <a:endParaRPr sz="2200" b="0" i="0" u="none" strike="noStrike" cap="none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D1EAD01-C029-4484-A22B-39F2F811CC42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530779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Shape 210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11" name="Shape 21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Shape 217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18" name="Shape 21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639"/>
              </a:lnSpc>
            </a:pP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"in the UK the average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st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to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eplace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a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eparting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taff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ember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is £30,614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sting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the British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conomy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lone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£4.13bn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ach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year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' </a:t>
            </a:r>
            <a:endParaRPr lang="da-DK" sz="15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lnSpc>
                <a:spcPts val="1639"/>
              </a:lnSpc>
            </a:pP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da-DK" sz="15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lnSpc>
                <a:spcPts val="1639"/>
              </a:lnSpc>
            </a:pP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taff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urnover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st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British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businesse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at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east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£4.13bn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very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year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as new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mployee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ake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up to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ight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onth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to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each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optimum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oductivity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evel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ccording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to research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eleased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oday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.</a:t>
            </a:r>
            <a:endParaRPr lang="da-DK" sz="15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lnSpc>
                <a:spcPts val="1639"/>
              </a:lnSpc>
            </a:pP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e average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ee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for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eplacing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a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eparting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taff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ember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is £30,614,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ay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Oxford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conomic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and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income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otection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ovider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Unum. This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igure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mprise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wo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ypical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mount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– £5,433 for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ogistic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uch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as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gency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ee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and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dvertising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and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wage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uring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the time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when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a new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mployee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is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yet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to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each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optimum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oductivity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evel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believed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to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be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an average of 28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weeks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at a </a:t>
            </a:r>
            <a:r>
              <a:rPr lang="da-DK" dirty="0" err="1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st</a:t>
            </a: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of £25,182.</a:t>
            </a:r>
            <a:endParaRPr lang="da-DK" sz="15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lnSpc>
                <a:spcPts val="1639"/>
              </a:lnSpc>
            </a:pPr>
            <a:r>
              <a:rPr lang="da-DK" dirty="0" smtClean="0">
                <a:solidFill>
                  <a:srgbClr val="282828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(The Telegraph, 2014)</a:t>
            </a:r>
            <a:endParaRPr lang="da-DK" sz="15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463" y="8685666"/>
            <a:ext cx="2972004" cy="456916"/>
          </a:xfrm>
          <a:prstGeom prst="rect">
            <a:avLst/>
          </a:prstGeom>
        </p:spPr>
        <p:txBody>
          <a:bodyPr lIns="84436" tIns="42218" rIns="84436" bIns="42218"/>
          <a:lstStyle/>
          <a:p>
            <a:pPr>
              <a:buClr>
                <a:srgbClr val="1F497D"/>
              </a:buClr>
            </a:pPr>
            <a:fld id="{D51FD0A5-E9FF-449F-9E6C-EA6FECB95E81}" type="slidenum">
              <a:rPr lang="en-US" smtClean="0"/>
              <a:pPr>
                <a:buClr>
                  <a:srgbClr val="1F497D"/>
                </a:buClr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2525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Shape 238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39" name="Shape 23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Shape 17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76" name="Shape 176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7999"/>
              </a:lnSpc>
              <a:spcBef>
                <a:spcPts val="0"/>
              </a:spcBef>
              <a:buSzPct val="25000"/>
              <a:buNone/>
            </a:pPr>
            <a:endParaRPr sz="2200" b="0" i="0" u="none" strike="noStrike" cap="none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Shape 184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85" name="Shape 18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90" name="Shape 190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7999"/>
              </a:lnSpc>
              <a:spcBef>
                <a:spcPts val="0"/>
              </a:spcBef>
              <a:buSzPct val="25000"/>
              <a:buNone/>
            </a:pPr>
            <a:endParaRPr sz="2200" b="0" i="0" u="none" strike="noStrike" cap="none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Shape 238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39" name="Shape 23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Shape 316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17" name="Shape 31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Shape 156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57" name="Shape 1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Shape 321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22" name="Shape 32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Shape 326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27" name="Shape 32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Shape 331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32" name="Shape 33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Shape 3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337" name="Shape 337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7999"/>
              </a:lnSpc>
              <a:spcBef>
                <a:spcPts val="0"/>
              </a:spcBef>
              <a:buSzPct val="25000"/>
              <a:buNone/>
            </a:pPr>
            <a:endParaRPr sz="2200" b="0" i="0" u="none" strike="noStrike" cap="none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63" name="Shape 163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199" cy="41148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7999"/>
              </a:lnSpc>
              <a:spcBef>
                <a:spcPts val="0"/>
              </a:spcBef>
              <a:buSzPct val="25000"/>
              <a:buNone/>
            </a:pPr>
            <a:endParaRPr sz="2200" b="0" i="0" u="none" strike="noStrike" cap="none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D1EAD01-C029-4484-A22B-39F2F811CC42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517300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D1EAD01-C029-4484-A22B-39F2F811CC42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0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536374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D1EAD01-C029-4484-A22B-39F2F811CC42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5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38128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D1EAD01-C029-4484-A22B-39F2F811CC42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8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48821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D1EAD01-C029-4484-A22B-39F2F811CC42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0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055804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AD1EAD01-C029-4484-A22B-39F2F811CC42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5522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1689100" y="952500"/>
            <a:ext cx="21005799" cy="2286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457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9144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1143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1371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1600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1828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1689100" y="3238500"/>
            <a:ext cx="21005799" cy="9207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635000" marR="0" lvl="0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hoto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/>
          </p:cNvSpPr>
          <p:nvPr>
            <p:ph type="pic" idx="2"/>
          </p:nvPr>
        </p:nvSpPr>
        <p:spPr>
          <a:xfrm>
            <a:off x="0" y="0"/>
            <a:ext cx="24384000" cy="13716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635000" marR="0" lvl="0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Shape 54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Bullets">
    <p:bg>
      <p:bgPr>
        <a:solidFill>
          <a:srgbClr val="000000"/>
        </a:solid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 txBox="1">
            <a:spLocks noGrp="1"/>
          </p:cNvSpPr>
          <p:nvPr>
            <p:ph type="title"/>
          </p:nvPr>
        </p:nvSpPr>
        <p:spPr>
          <a:xfrm>
            <a:off x="1231900" y="863600"/>
            <a:ext cx="21907499" cy="2006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venir"/>
              <a:buNone/>
              <a:defRPr sz="62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457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9144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1143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1371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1600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1828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1231900" y="2844800"/>
            <a:ext cx="21907499" cy="9448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635000" marR="0" lvl="0" indent="-3492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FFFFFF"/>
              </a:buClr>
              <a:buSzPct val="90000"/>
              <a:buFont typeface="Avenir"/>
              <a:buChar char="•"/>
              <a:defRPr sz="50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1270000" marR="0" lvl="1" indent="-3492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FFFFFF"/>
              </a:buClr>
              <a:buSzPct val="90000"/>
              <a:buFont typeface="Avenir"/>
              <a:buChar char="•"/>
              <a:defRPr sz="50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905000" marR="0" lvl="2" indent="-3492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FFFFFF"/>
              </a:buClr>
              <a:buSzPct val="90000"/>
              <a:buFont typeface="Avenir"/>
              <a:buChar char="•"/>
              <a:defRPr sz="50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2540000" marR="0" lvl="3" indent="-3492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FFFFFF"/>
              </a:buClr>
              <a:buSzPct val="90000"/>
              <a:buFont typeface="Avenir"/>
              <a:buChar char="•"/>
              <a:defRPr sz="50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3175000" marR="0" lvl="4" indent="-3492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FFFFFF"/>
              </a:buClr>
              <a:buSzPct val="90000"/>
              <a:buFont typeface="Avenir"/>
              <a:buChar char="•"/>
              <a:defRPr sz="50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8" name="Shape 58"/>
          <p:cNvSpPr txBox="1">
            <a:spLocks noGrp="1"/>
          </p:cNvSpPr>
          <p:nvPr>
            <p:ph type="sldNum" idx="12"/>
          </p:nvPr>
        </p:nvSpPr>
        <p:spPr>
          <a:xfrm>
            <a:off x="11950789" y="13049250"/>
            <a:ext cx="431292" cy="520700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venir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lang="en-GB" sz="2400" b="0" i="0" u="none" strike="noStrike" cap="none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8C9F812F-273D-4C47-BB31-C83F136FD4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4C6A4-D04C-4C2B-B3C1-6D0A5DA2680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5557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711200" y="571501"/>
            <a:ext cx="23090555" cy="1204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07816" tIns="103908" rIns="207816" bIns="103908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>
              <a:solidFill>
                <a:srgbClr val="737377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62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571496"/>
            <a:ext cx="24384000" cy="13144504"/>
            <a:chOff x="0" y="285748"/>
            <a:chExt cx="9906000" cy="6572252"/>
          </a:xfrm>
        </p:grpSpPr>
        <p:sp>
          <p:nvSpPr>
            <p:cNvPr id="27" name="Rectangle 26"/>
            <p:cNvSpPr/>
            <p:nvPr userDrawn="1"/>
          </p:nvSpPr>
          <p:spPr bwMode="auto">
            <a:xfrm>
              <a:off x="0" y="285748"/>
              <a:ext cx="9906000" cy="6050251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  <p:sp>
          <p:nvSpPr>
            <p:cNvPr id="28" name="Rectangle 27"/>
            <p:cNvSpPr/>
            <p:nvPr userDrawn="1"/>
          </p:nvSpPr>
          <p:spPr bwMode="auto">
            <a:xfrm>
              <a:off x="4731488" y="6308725"/>
              <a:ext cx="5174511" cy="549275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auto">
            <a:xfrm>
              <a:off x="0" y="6613451"/>
              <a:ext cx="9905999" cy="244549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</p:grpSp>
      <p:sp>
        <p:nvSpPr>
          <p:cNvPr id="3" name="Rectangle 2"/>
          <p:cNvSpPr/>
          <p:nvPr userDrawn="1"/>
        </p:nvSpPr>
        <p:spPr bwMode="auto">
          <a:xfrm>
            <a:off x="707295" y="571498"/>
            <a:ext cx="23094462" cy="12045952"/>
          </a:xfrm>
          <a:prstGeom prst="rect">
            <a:avLst/>
          </a:prstGeom>
          <a:solidFill>
            <a:srgbClr val="293947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9315940" y="571499"/>
            <a:ext cx="14485817" cy="126428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010898" y="3941380"/>
            <a:ext cx="10786617" cy="374253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lIns="204543" tIns="0" rIns="204543" bIns="0"/>
          <a:lstStyle>
            <a:lvl1pPr>
              <a:lnSpc>
                <a:spcPct val="85000"/>
              </a:lnSpc>
              <a:defRPr sz="6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2010897" y="8244346"/>
            <a:ext cx="10786619" cy="4134980"/>
          </a:xfr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207816" tIns="0" rIns="207816" bIns="0"/>
          <a:lstStyle>
            <a:lvl1pPr>
              <a:buClr>
                <a:schemeClr val="bg1"/>
              </a:buClr>
              <a:buFont typeface="Wingdings" pitchFamily="2" charset="2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12185532" y="7911964"/>
            <a:ext cx="11616224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707294" y="571501"/>
            <a:ext cx="8608645" cy="12045950"/>
          </a:xfrm>
          <a:blipFill>
            <a:blip r:embed="rId2"/>
            <a:srcRect/>
            <a:stretch>
              <a:fillRect t="-4224" b="-4224"/>
            </a:stretch>
          </a:blip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pic>
        <p:nvPicPr>
          <p:cNvPr id="14" name="Picture 3" descr="\\10.65.9.150\ds1\RRU\JOBS\LIBRARY\DSP02000 - DSP02099\DSP02001 Admin Logo Brand Update\logo files wip\NEW PA LOGO\New PA Logo reversed 2-17 x 2-36.e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2725" y="1342529"/>
            <a:ext cx="1927749" cy="1444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4906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571496"/>
            <a:ext cx="24384000" cy="13144504"/>
            <a:chOff x="0" y="285748"/>
            <a:chExt cx="9906000" cy="6572252"/>
          </a:xfrm>
        </p:grpSpPr>
        <p:sp>
          <p:nvSpPr>
            <p:cNvPr id="27" name="Rectangle 26"/>
            <p:cNvSpPr/>
            <p:nvPr userDrawn="1"/>
          </p:nvSpPr>
          <p:spPr bwMode="auto">
            <a:xfrm>
              <a:off x="0" y="285748"/>
              <a:ext cx="9906000" cy="6050251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  <p:sp>
          <p:nvSpPr>
            <p:cNvPr id="28" name="Rectangle 27"/>
            <p:cNvSpPr/>
            <p:nvPr userDrawn="1"/>
          </p:nvSpPr>
          <p:spPr bwMode="auto">
            <a:xfrm>
              <a:off x="4731488" y="6308725"/>
              <a:ext cx="5174511" cy="549275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auto">
            <a:xfrm>
              <a:off x="0" y="6613451"/>
              <a:ext cx="9905999" cy="244549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</p:grpSp>
      <p:sp>
        <p:nvSpPr>
          <p:cNvPr id="3" name="Rectangle 2"/>
          <p:cNvSpPr/>
          <p:nvPr userDrawn="1"/>
        </p:nvSpPr>
        <p:spPr bwMode="auto">
          <a:xfrm>
            <a:off x="707295" y="571498"/>
            <a:ext cx="23094462" cy="12045952"/>
          </a:xfrm>
          <a:prstGeom prst="rect">
            <a:avLst/>
          </a:prstGeom>
          <a:solidFill>
            <a:srgbClr val="3876BE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9315940" y="571499"/>
            <a:ext cx="14485817" cy="126428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010898" y="3941380"/>
            <a:ext cx="10786617" cy="374253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lIns="204543" tIns="0" rIns="204543" bIns="0"/>
          <a:lstStyle>
            <a:lvl1pPr>
              <a:lnSpc>
                <a:spcPct val="85000"/>
              </a:lnSpc>
              <a:defRPr sz="6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2010901" y="8244346"/>
            <a:ext cx="10786617" cy="4134980"/>
          </a:xfr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207816" tIns="0" rIns="207816" bIns="0"/>
          <a:lstStyle>
            <a:lvl1pPr>
              <a:buClr>
                <a:schemeClr val="bg1"/>
              </a:buClr>
              <a:buFont typeface="Wingdings" pitchFamily="2" charset="2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12185532" y="7911964"/>
            <a:ext cx="11616224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707294" y="571501"/>
            <a:ext cx="8608645" cy="12045950"/>
          </a:xfrm>
          <a:blipFill>
            <a:blip r:embed="rId2"/>
            <a:stretch>
              <a:fillRect/>
            </a:stretch>
          </a:blip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pic>
        <p:nvPicPr>
          <p:cNvPr id="15" name="Picture 3" descr="\\10.65.9.150\ds1\RRU\JOBS\LIBRARY\DSP02000 - DSP02099\DSP02001 Admin Logo Brand Update\logo files wip\NEW PA LOGO\New PA Logo reversed 2-17 x 2-36.e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2725" y="1342529"/>
            <a:ext cx="1927749" cy="1444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5399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/>
          <p:cNvGrpSpPr/>
          <p:nvPr userDrawn="1"/>
        </p:nvGrpSpPr>
        <p:grpSpPr>
          <a:xfrm>
            <a:off x="0" y="571496"/>
            <a:ext cx="24384000" cy="13144504"/>
            <a:chOff x="0" y="285748"/>
            <a:chExt cx="9906000" cy="6572252"/>
          </a:xfrm>
        </p:grpSpPr>
        <p:sp>
          <p:nvSpPr>
            <p:cNvPr id="34" name="Rectangle 33"/>
            <p:cNvSpPr/>
            <p:nvPr userDrawn="1"/>
          </p:nvSpPr>
          <p:spPr bwMode="auto">
            <a:xfrm>
              <a:off x="0" y="285748"/>
              <a:ext cx="9906000" cy="6050251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  <p:sp>
          <p:nvSpPr>
            <p:cNvPr id="35" name="Rectangle 34"/>
            <p:cNvSpPr/>
            <p:nvPr userDrawn="1"/>
          </p:nvSpPr>
          <p:spPr bwMode="auto">
            <a:xfrm>
              <a:off x="4731488" y="6308725"/>
              <a:ext cx="5174511" cy="549275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  <p:sp>
          <p:nvSpPr>
            <p:cNvPr id="36" name="Rectangle 35"/>
            <p:cNvSpPr/>
            <p:nvPr userDrawn="1"/>
          </p:nvSpPr>
          <p:spPr bwMode="auto">
            <a:xfrm>
              <a:off x="0" y="6613451"/>
              <a:ext cx="9905999" cy="244549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</p:grpSp>
      <p:sp>
        <p:nvSpPr>
          <p:cNvPr id="3" name="Rectangle 2"/>
          <p:cNvSpPr/>
          <p:nvPr userDrawn="1"/>
        </p:nvSpPr>
        <p:spPr bwMode="auto">
          <a:xfrm>
            <a:off x="707295" y="571498"/>
            <a:ext cx="23094462" cy="12045952"/>
          </a:xfrm>
          <a:prstGeom prst="rect">
            <a:avLst/>
          </a:prstGeom>
          <a:solidFill>
            <a:srgbClr val="DEE3E6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9315940" y="571499"/>
            <a:ext cx="14485817" cy="126428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010896" y="3925613"/>
            <a:ext cx="10786622" cy="375829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lIns="204543" tIns="0" rIns="204543" bIns="0"/>
          <a:lstStyle>
            <a:lvl1pPr>
              <a:lnSpc>
                <a:spcPct val="85000"/>
              </a:lnSpc>
              <a:defRPr sz="6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2010898" y="8244346"/>
            <a:ext cx="10786617" cy="4134980"/>
          </a:xfr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207816" tIns="0" rIns="207816" bIns="0"/>
          <a:lstStyle>
            <a:lvl1pPr>
              <a:buClr>
                <a:schemeClr val="bg1"/>
              </a:buClr>
              <a:buFont typeface="Wingdings" pitchFamily="2" charset="2"/>
              <a:buNone/>
              <a:defRPr>
                <a:solidFill>
                  <a:srgbClr val="293947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12185532" y="7911964"/>
            <a:ext cx="11616224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707294" y="571501"/>
            <a:ext cx="8608645" cy="12045950"/>
          </a:xfrm>
          <a:blipFill>
            <a:blip r:embed="rId2"/>
            <a:stretch>
              <a:fillRect/>
            </a:stretch>
          </a:blip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pic>
        <p:nvPicPr>
          <p:cNvPr id="15" name="Picture 2" descr="\\10.65.9.150\ds1\RRU\JOBS\LIBRARY\DSP02000 - DSP02099\DSP02001 Admin Logo Brand Update\logo files wip\NEW PA LOGO\New PA Logo 2-17 x 2-36.e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95909" y="1330612"/>
            <a:ext cx="1949755" cy="1445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464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571496"/>
            <a:ext cx="24384000" cy="13144504"/>
            <a:chOff x="0" y="285748"/>
            <a:chExt cx="9906000" cy="6572252"/>
          </a:xfrm>
        </p:grpSpPr>
        <p:sp>
          <p:nvSpPr>
            <p:cNvPr id="28" name="Rectangle 27"/>
            <p:cNvSpPr/>
            <p:nvPr userDrawn="1"/>
          </p:nvSpPr>
          <p:spPr bwMode="auto">
            <a:xfrm>
              <a:off x="0" y="285748"/>
              <a:ext cx="9906000" cy="6050251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auto">
            <a:xfrm>
              <a:off x="4731488" y="6308725"/>
              <a:ext cx="5174511" cy="549275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0" y="6613451"/>
              <a:ext cx="9905999" cy="244549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</p:grpSp>
      <p:sp>
        <p:nvSpPr>
          <p:cNvPr id="3" name="Double Bracket 2"/>
          <p:cNvSpPr/>
          <p:nvPr userDrawn="1"/>
        </p:nvSpPr>
        <p:spPr bwMode="auto">
          <a:xfrm rot="5400000">
            <a:off x="6242521" y="-4948967"/>
            <a:ext cx="12024000" cy="23094457"/>
          </a:xfrm>
          <a:prstGeom prst="bracketPair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9315940" y="571499"/>
            <a:ext cx="14485817" cy="126428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010898" y="3941380"/>
            <a:ext cx="10786612" cy="374253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lIns="204543" tIns="0" rIns="204543" bIns="0"/>
          <a:lstStyle>
            <a:lvl1pPr>
              <a:lnSpc>
                <a:spcPct val="85000"/>
              </a:lnSpc>
              <a:defRPr sz="6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2010898" y="8244346"/>
            <a:ext cx="10786612" cy="4134980"/>
          </a:xfr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207816" tIns="0" rIns="207816" bIns="0"/>
          <a:lstStyle>
            <a:lvl1pPr>
              <a:buClr>
                <a:schemeClr val="bg1"/>
              </a:buClr>
              <a:buFont typeface="Wingdings" pitchFamily="2" charset="2"/>
              <a:buNone/>
              <a:defRPr>
                <a:solidFill>
                  <a:srgbClr val="293947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707294" y="571501"/>
            <a:ext cx="8608645" cy="12045950"/>
          </a:xfrm>
          <a:blipFill>
            <a:blip r:embed="rId2"/>
            <a:stretch>
              <a:fillRect/>
            </a:stretch>
          </a:blip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 bwMode="auto">
          <a:xfrm>
            <a:off x="12185532" y="7911964"/>
            <a:ext cx="11616224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5" name="Picture 2" descr="\\10.65.9.150\ds1\RRU\JOBS\LIBRARY\DSP02000 - DSP02099\DSP02001 Admin Logo Brand Update\logo files wip\NEW PA LOGO\New PA Logo 2-17 x 2-36.e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95909" y="1330612"/>
            <a:ext cx="1949755" cy="1445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2464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tabLst/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520832" y="13246435"/>
            <a:ext cx="7721600" cy="230390"/>
          </a:xfrm>
          <a:prstGeom prst="rect">
            <a:avLst/>
          </a:prstGeom>
        </p:spPr>
        <p:txBody>
          <a:bodyPr vert="horz" lIns="0" tIns="163634" rIns="81817" bIns="163634" rtlCol="0" anchor="ctr"/>
          <a:lstStyle>
            <a:lvl1pPr algn="l">
              <a:defRPr sz="1400">
                <a:solidFill>
                  <a:schemeClr val="bg2"/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US" kern="1200" dirty="0" smtClean="0">
                <a:solidFill>
                  <a:srgbClr val="5E707D"/>
                </a:solidFill>
                <a:latin typeface="Arial" charset="0"/>
              </a:rPr>
              <a:t> </a:t>
            </a:r>
            <a:endParaRPr lang="en-US" kern="1200" dirty="0">
              <a:solidFill>
                <a:srgbClr val="5E707D"/>
              </a:solidFill>
              <a:latin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561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hoto - Horizontal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>
            <a:spLocks noGrp="1"/>
          </p:cNvSpPr>
          <p:nvPr>
            <p:ph type="pic" idx="2"/>
          </p:nvPr>
        </p:nvSpPr>
        <p:spPr>
          <a:xfrm>
            <a:off x="3125967" y="673100"/>
            <a:ext cx="18135601" cy="8737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635000" marR="0" lvl="0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title"/>
          </p:nvPr>
        </p:nvSpPr>
        <p:spPr>
          <a:xfrm>
            <a:off x="635000" y="9448800"/>
            <a:ext cx="23113999" cy="2006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457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9144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1143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1371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1600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1828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635000" y="11518900"/>
            <a:ext cx="23113999" cy="1587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4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4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457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4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4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9144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4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7296" y="571502"/>
            <a:ext cx="23094459" cy="1422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7300" y="2508252"/>
            <a:ext cx="11067877" cy="9871076"/>
          </a:xfrm>
          <a:ln>
            <a:noFill/>
          </a:ln>
        </p:spPr>
        <p:txBody>
          <a:bodyPr/>
          <a:lstStyle>
            <a:lvl1pPr marL="0" marR="0" indent="0" algn="l" defTabSz="20781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666666"/>
              </a:buClr>
              <a:buSzTx/>
              <a:buFont typeface="Symbol" pitchFamily="18" charset="2"/>
              <a:buNone/>
              <a:tabLst/>
              <a:defRPr sz="4100">
                <a:solidFill>
                  <a:schemeClr val="tx1"/>
                </a:solidFill>
              </a:defRPr>
            </a:lvl1pPr>
            <a:lvl2pPr marL="613345" marR="0" indent="-609738" algn="l" defTabSz="20781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SzTx/>
              <a:buFont typeface="Symbol" pitchFamily="18" charset="2"/>
              <a:buChar char="·"/>
              <a:tabLst/>
              <a:defRPr sz="4100">
                <a:solidFill>
                  <a:schemeClr val="tx1"/>
                </a:solidFill>
              </a:defRPr>
            </a:lvl2pPr>
            <a:lvl3pPr marL="1226690" marR="0" indent="-609738" algn="l" defTabSz="20781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SzTx/>
              <a:buFont typeface="Arial" charset="0"/>
              <a:buChar char="–"/>
              <a:tabLst/>
              <a:defRPr sz="4100">
                <a:solidFill>
                  <a:schemeClr val="tx1"/>
                </a:solidFill>
              </a:defRPr>
            </a:lvl3pPr>
            <a:lvl4pPr marL="1836428" marR="0" indent="-606129" algn="l" defTabSz="20781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4100">
                <a:solidFill>
                  <a:schemeClr val="tx1"/>
                </a:solidFill>
              </a:defRPr>
            </a:lvl4pPr>
            <a:lvl5pPr marL="2449773" marR="0" indent="-609738" algn="l" defTabSz="20781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SzTx/>
              <a:buFont typeface="Arial" charset="0"/>
              <a:buChar char="–"/>
              <a:tabLst/>
              <a:defRPr sz="4100">
                <a:solidFill>
                  <a:schemeClr val="tx1"/>
                </a:solidFill>
              </a:defRPr>
            </a:lvl5pPr>
            <a:lvl6pPr>
              <a:defRPr sz="4100"/>
            </a:lvl6pPr>
            <a:lvl7pPr>
              <a:defRPr sz="4100"/>
            </a:lvl7pPr>
            <a:lvl8pPr>
              <a:defRPr sz="4100"/>
            </a:lvl8pPr>
            <a:lvl9pPr>
              <a:defRPr sz="4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661329" y="2508251"/>
            <a:ext cx="11140426" cy="9871078"/>
          </a:xfrm>
          <a:ln>
            <a:noFill/>
          </a:ln>
        </p:spPr>
        <p:txBody>
          <a:bodyPr/>
          <a:lstStyle>
            <a:lvl1pPr marL="0" marR="0" indent="0" algn="l" defTabSz="20781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666666"/>
              </a:buClr>
              <a:buSzTx/>
              <a:buFont typeface="Symbol" pitchFamily="18" charset="2"/>
              <a:buNone/>
              <a:tabLst/>
              <a:defRPr sz="4100">
                <a:solidFill>
                  <a:schemeClr val="tx1"/>
                </a:solidFill>
              </a:defRPr>
            </a:lvl1pPr>
            <a:lvl2pPr marL="613345" marR="0" indent="-609738" algn="l" defTabSz="20781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SzTx/>
              <a:buFont typeface="Symbol" pitchFamily="18" charset="2"/>
              <a:buChar char="·"/>
              <a:tabLst/>
              <a:defRPr sz="4100">
                <a:solidFill>
                  <a:schemeClr val="tx1"/>
                </a:solidFill>
              </a:defRPr>
            </a:lvl2pPr>
            <a:lvl3pPr marL="1226690" marR="0" indent="-609738" algn="l" defTabSz="20781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SzTx/>
              <a:buFont typeface="Arial" charset="0"/>
              <a:buChar char="–"/>
              <a:tabLst/>
              <a:defRPr sz="4100">
                <a:solidFill>
                  <a:schemeClr val="tx1"/>
                </a:solidFill>
              </a:defRPr>
            </a:lvl3pPr>
            <a:lvl4pPr marL="1836428" marR="0" indent="-606129" algn="l" defTabSz="20781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4100">
                <a:solidFill>
                  <a:schemeClr val="tx1"/>
                </a:solidFill>
              </a:defRPr>
            </a:lvl4pPr>
            <a:lvl5pPr marL="2449773" marR="0" indent="-609738" algn="l" defTabSz="20781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SzTx/>
              <a:buFont typeface="Arial" charset="0"/>
              <a:buChar char="–"/>
              <a:tabLst/>
              <a:defRPr sz="4100">
                <a:solidFill>
                  <a:schemeClr val="tx1"/>
                </a:solidFill>
              </a:defRPr>
            </a:lvl5pPr>
            <a:lvl6pPr>
              <a:defRPr sz="4100"/>
            </a:lvl6pPr>
            <a:lvl7pPr>
              <a:defRPr sz="4100"/>
            </a:lvl7pPr>
            <a:lvl8pPr>
              <a:defRPr sz="4100"/>
            </a:lvl8pPr>
            <a:lvl9pPr>
              <a:defRPr sz="4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520832" y="13246435"/>
            <a:ext cx="7721600" cy="230390"/>
          </a:xfrm>
          <a:prstGeom prst="rect">
            <a:avLst/>
          </a:prstGeom>
        </p:spPr>
        <p:txBody>
          <a:bodyPr vert="horz" lIns="0" tIns="163634" rIns="81817" bIns="163634" rtlCol="0" anchor="ctr"/>
          <a:lstStyle>
            <a:lvl1pPr algn="l">
              <a:defRPr sz="1400">
                <a:solidFill>
                  <a:schemeClr val="bg2"/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US" kern="1200" dirty="0" smtClean="0">
                <a:solidFill>
                  <a:srgbClr val="5E707D"/>
                </a:solidFill>
                <a:latin typeface="Arial" charset="0"/>
              </a:rPr>
              <a:t> </a:t>
            </a:r>
            <a:endParaRPr lang="en-US" kern="1200" dirty="0">
              <a:solidFill>
                <a:srgbClr val="5E707D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55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520832" y="13246435"/>
            <a:ext cx="7721600" cy="230390"/>
          </a:xfrm>
          <a:prstGeom prst="rect">
            <a:avLst/>
          </a:prstGeom>
        </p:spPr>
        <p:txBody>
          <a:bodyPr vert="horz" lIns="0" tIns="163634" rIns="81817" bIns="163634" rtlCol="0" anchor="ctr"/>
          <a:lstStyle>
            <a:lvl1pPr algn="l">
              <a:defRPr sz="1400">
                <a:solidFill>
                  <a:schemeClr val="bg2"/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US" kern="1200" dirty="0" smtClean="0">
                <a:solidFill>
                  <a:srgbClr val="5E707D"/>
                </a:solidFill>
                <a:latin typeface="Arial" charset="0"/>
              </a:rPr>
              <a:t> </a:t>
            </a:r>
            <a:endParaRPr lang="en-US" kern="1200" dirty="0">
              <a:solidFill>
                <a:srgbClr val="5E707D"/>
              </a:solidFill>
              <a:latin typeface="Arial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799123" y="2661920"/>
            <a:ext cx="22595596" cy="0"/>
          </a:xfrm>
          <a:prstGeom prst="line">
            <a:avLst/>
          </a:prstGeom>
          <a:noFill/>
          <a:ln w="19050" cap="flat" cmpd="sng" algn="ctr">
            <a:solidFill>
              <a:srgbClr val="66666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3395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ceptional Results x2 hea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5"/>
          </p:nvPr>
        </p:nvSpPr>
        <p:spPr>
          <a:xfrm>
            <a:off x="707295" y="2508250"/>
            <a:ext cx="11195537" cy="337185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26"/>
          </p:nvPr>
        </p:nvSpPr>
        <p:spPr>
          <a:xfrm>
            <a:off x="12606219" y="2508250"/>
            <a:ext cx="11195537" cy="337185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>
          <a:xfrm>
            <a:off x="3520832" y="13246435"/>
            <a:ext cx="7721600" cy="230390"/>
          </a:xfrm>
          <a:prstGeom prst="rect">
            <a:avLst/>
          </a:prstGeom>
        </p:spPr>
        <p:txBody>
          <a:bodyPr lIns="207816" tIns="103908" rIns="207816" bIns="103908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US" sz="3200" kern="1200" dirty="0" smtClean="0">
                <a:solidFill>
                  <a:srgbClr val="5E707D"/>
                </a:solidFill>
                <a:latin typeface="Arial" charset="0"/>
              </a:rPr>
              <a:t> </a:t>
            </a:r>
            <a:endParaRPr lang="en-US" sz="3200" kern="1200" dirty="0">
              <a:solidFill>
                <a:srgbClr val="5E707D"/>
              </a:solidFill>
              <a:latin typeface="Arial" charset="0"/>
            </a:endParaRPr>
          </a:p>
        </p:txBody>
      </p:sp>
      <p:sp>
        <p:nvSpPr>
          <p:cNvPr id="23" name="Text Placeholder 18"/>
          <p:cNvSpPr>
            <a:spLocks noGrp="1"/>
          </p:cNvSpPr>
          <p:nvPr>
            <p:ph type="body" sz="quarter" idx="23"/>
          </p:nvPr>
        </p:nvSpPr>
        <p:spPr>
          <a:xfrm>
            <a:off x="12586421" y="6045199"/>
            <a:ext cx="11195340" cy="63341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25397" tIns="75133" rIns="225397" bIns="0" numCol="1" spcCol="277992" anchor="t" anchorCtr="0" compatLnSpc="1">
            <a:prstTxWarp prst="textNoShape">
              <a:avLst/>
            </a:prstTxWarp>
          </a:bodyPr>
          <a:lstStyle>
            <a:lvl1pPr>
              <a:defRPr lang="en-US" sz="3200" smtClean="0">
                <a:solidFill>
                  <a:schemeClr val="accent1"/>
                </a:solidFill>
              </a:defRPr>
            </a:lvl1pPr>
            <a:lvl2pPr marL="414911" indent="-411302">
              <a:defRPr lang="en-US" sz="3200" smtClean="0"/>
            </a:lvl2pPr>
            <a:lvl3pPr marL="811781" indent="-396870">
              <a:defRPr lang="en-US" sz="3200" smtClean="0"/>
            </a:lvl3pPr>
            <a:lvl4pPr marL="1226690" indent="-414911">
              <a:defRPr lang="en-US" sz="3200" smtClean="0"/>
            </a:lvl4pPr>
            <a:lvl5pPr marL="1623560" indent="-396870">
              <a:defRPr lang="en-GB" sz="3200" dirty="0"/>
            </a:lvl5pPr>
          </a:lstStyle>
          <a:p>
            <a:pPr marL="0" lvl="0" indent="0">
              <a:spcAft>
                <a:spcPts val="418"/>
              </a:spcAft>
              <a:buFontTx/>
              <a:buNone/>
            </a:pPr>
            <a:r>
              <a:rPr lang="en-US" smtClean="0"/>
              <a:t>Click to edit Master text styles</a:t>
            </a:r>
          </a:p>
          <a:p>
            <a:pPr marL="0" lvl="1" indent="0">
              <a:spcAft>
                <a:spcPts val="418"/>
              </a:spcAft>
              <a:buFontTx/>
              <a:buNone/>
            </a:pPr>
            <a:r>
              <a:rPr lang="en-US" smtClean="0"/>
              <a:t>Second level</a:t>
            </a:r>
          </a:p>
          <a:p>
            <a:pPr marL="0" lvl="2" indent="0">
              <a:spcAft>
                <a:spcPts val="418"/>
              </a:spcAft>
              <a:buFontTx/>
              <a:buNone/>
            </a:pPr>
            <a:r>
              <a:rPr lang="en-US" smtClean="0"/>
              <a:t>Third level</a:t>
            </a:r>
          </a:p>
          <a:p>
            <a:pPr marL="0" lvl="3" indent="0">
              <a:spcAft>
                <a:spcPts val="418"/>
              </a:spcAft>
              <a:buFontTx/>
              <a:buNone/>
            </a:pPr>
            <a:r>
              <a:rPr lang="en-US" smtClean="0"/>
              <a:t>Fourth level</a:t>
            </a:r>
          </a:p>
          <a:p>
            <a:pPr marL="0" lvl="4" indent="0">
              <a:spcAft>
                <a:spcPts val="418"/>
              </a:spcAft>
              <a:buFontTx/>
              <a:buNone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24"/>
          </p:nvPr>
        </p:nvSpPr>
        <p:spPr>
          <a:xfrm>
            <a:off x="707295" y="6045199"/>
            <a:ext cx="11195340" cy="63341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25397" tIns="75133" rIns="225397" bIns="0" numCol="1" spcCol="277992" anchor="t" anchorCtr="0" compatLnSpc="1">
            <a:prstTxWarp prst="textNoShape">
              <a:avLst/>
            </a:prstTxWarp>
          </a:bodyPr>
          <a:lstStyle>
            <a:lvl1pPr>
              <a:defRPr lang="en-US" sz="3200" smtClean="0">
                <a:solidFill>
                  <a:schemeClr val="accent1"/>
                </a:solidFill>
              </a:defRPr>
            </a:lvl1pPr>
            <a:lvl2pPr marL="414911" indent="-411302">
              <a:defRPr lang="en-US" sz="3200" smtClean="0"/>
            </a:lvl2pPr>
            <a:lvl3pPr marL="811781" indent="-396870">
              <a:defRPr lang="en-US" sz="3200" smtClean="0"/>
            </a:lvl3pPr>
            <a:lvl4pPr marL="1226690" indent="-414911">
              <a:defRPr lang="en-US" sz="3200" smtClean="0"/>
            </a:lvl4pPr>
            <a:lvl5pPr marL="1623560" indent="-396870">
              <a:defRPr lang="en-GB" sz="3200" dirty="0"/>
            </a:lvl5pPr>
          </a:lstStyle>
          <a:p>
            <a:pPr marL="0" lvl="0" indent="0">
              <a:spcAft>
                <a:spcPts val="418"/>
              </a:spcAft>
              <a:buFontTx/>
              <a:buNone/>
            </a:pPr>
            <a:r>
              <a:rPr lang="en-US" smtClean="0"/>
              <a:t>Click to edit Master text styles</a:t>
            </a:r>
          </a:p>
          <a:p>
            <a:pPr marL="0" lvl="1" indent="0">
              <a:spcAft>
                <a:spcPts val="418"/>
              </a:spcAft>
              <a:buFontTx/>
              <a:buNone/>
            </a:pPr>
            <a:r>
              <a:rPr lang="en-US" smtClean="0"/>
              <a:t>Second level</a:t>
            </a:r>
          </a:p>
          <a:p>
            <a:pPr marL="0" lvl="2" indent="0">
              <a:spcAft>
                <a:spcPts val="418"/>
              </a:spcAft>
              <a:buFontTx/>
              <a:buNone/>
            </a:pPr>
            <a:r>
              <a:rPr lang="en-US" smtClean="0"/>
              <a:t>Third level</a:t>
            </a:r>
          </a:p>
          <a:p>
            <a:pPr marL="0" lvl="3" indent="0">
              <a:spcAft>
                <a:spcPts val="418"/>
              </a:spcAft>
              <a:buFontTx/>
              <a:buNone/>
            </a:pPr>
            <a:r>
              <a:rPr lang="en-US" smtClean="0"/>
              <a:t>Fourth level</a:t>
            </a:r>
          </a:p>
          <a:p>
            <a:pPr marL="0" lvl="4" indent="0">
              <a:spcAft>
                <a:spcPts val="418"/>
              </a:spcAft>
              <a:buFontTx/>
              <a:buNone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62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 Right Team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>
          <a:xfrm>
            <a:off x="3520832" y="13246435"/>
            <a:ext cx="7721600" cy="230390"/>
          </a:xfrm>
          <a:prstGeom prst="rect">
            <a:avLst/>
          </a:prstGeom>
        </p:spPr>
        <p:txBody>
          <a:bodyPr lIns="207816" tIns="103908" rIns="207816" bIns="103908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US" sz="3200" kern="1200" dirty="0" smtClean="0">
                <a:solidFill>
                  <a:srgbClr val="5E707D"/>
                </a:solidFill>
                <a:latin typeface="Arial" charset="0"/>
              </a:rPr>
              <a:t> </a:t>
            </a:r>
            <a:endParaRPr lang="en-US" sz="3200" kern="1200" dirty="0">
              <a:solidFill>
                <a:srgbClr val="5E707D"/>
              </a:solidFill>
              <a:latin typeface="Arial" charset="0"/>
            </a:endParaRP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12500709" y="7275763"/>
            <a:ext cx="2345728" cy="2587294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912640" y="7275763"/>
            <a:ext cx="2345728" cy="2587294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12500709" y="2511239"/>
            <a:ext cx="2345728" cy="2587294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912640" y="2499719"/>
            <a:ext cx="2345728" cy="2587294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3520832" y="7015258"/>
            <a:ext cx="8721969" cy="0"/>
          </a:xfrm>
          <a:prstGeom prst="line">
            <a:avLst/>
          </a:prstGeom>
          <a:noFill/>
          <a:ln w="12700" cap="flat" cmpd="sng" algn="ctr">
            <a:solidFill>
              <a:srgbClr val="66666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 userDrawn="1"/>
        </p:nvCxnSpPr>
        <p:spPr bwMode="auto">
          <a:xfrm>
            <a:off x="15055266" y="7015258"/>
            <a:ext cx="8707412" cy="0"/>
          </a:xfrm>
          <a:prstGeom prst="line">
            <a:avLst/>
          </a:prstGeom>
          <a:noFill/>
          <a:ln w="12700" cap="flat" cmpd="sng" algn="ctr">
            <a:solidFill>
              <a:srgbClr val="66666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 userDrawn="1"/>
        </p:nvCxnSpPr>
        <p:spPr bwMode="auto">
          <a:xfrm>
            <a:off x="3520832" y="11816887"/>
            <a:ext cx="8721969" cy="278"/>
          </a:xfrm>
          <a:prstGeom prst="line">
            <a:avLst/>
          </a:prstGeom>
          <a:noFill/>
          <a:ln w="12700" cap="flat" cmpd="sng" algn="ctr">
            <a:solidFill>
              <a:srgbClr val="66666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 userDrawn="1"/>
        </p:nvCxnSpPr>
        <p:spPr bwMode="auto">
          <a:xfrm>
            <a:off x="15100107" y="11816886"/>
            <a:ext cx="8701649" cy="0"/>
          </a:xfrm>
          <a:prstGeom prst="line">
            <a:avLst/>
          </a:prstGeom>
          <a:noFill/>
          <a:ln w="12700" cap="flat" cmpd="sng" algn="ctr">
            <a:solidFill>
              <a:srgbClr val="66666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15040709" y="8444596"/>
            <a:ext cx="8721969" cy="3356692"/>
          </a:xfr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225397" tIns="75133" rIns="225397" bIns="0" numCol="1" spcCol="277992" anchor="t" anchorCtr="0" compatLnSpc="1">
            <a:prstTxWarp prst="textNoShape">
              <a:avLst/>
            </a:prstTxWarp>
          </a:bodyPr>
          <a:lstStyle>
            <a:lvl1pPr>
              <a:defRPr lang="en-GB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911" indent="-411302">
              <a:tabLst/>
              <a:defRPr lang="en-GB" sz="3200" smtClean="0">
                <a:solidFill>
                  <a:schemeClr val="tx1"/>
                </a:solidFill>
              </a:defRPr>
            </a:lvl2pPr>
            <a:lvl3pPr marL="811781" indent="-396870">
              <a:defRPr lang="en-GB" sz="3200" smtClean="0">
                <a:solidFill>
                  <a:schemeClr val="tx1"/>
                </a:solidFill>
              </a:defRPr>
            </a:lvl3pPr>
            <a:lvl4pPr marL="1226690" indent="-414911">
              <a:defRPr lang="en-GB" sz="3200" smtClean="0">
                <a:solidFill>
                  <a:schemeClr val="tx1"/>
                </a:solidFill>
              </a:defRPr>
            </a:lvl4pPr>
            <a:lvl5pPr marL="1623560" indent="-396870">
              <a:defRPr lang="en-GB" sz="3200" dirty="0">
                <a:solidFill>
                  <a:schemeClr val="tx1"/>
                </a:solidFill>
              </a:defRPr>
            </a:lvl5pPr>
          </a:lstStyle>
          <a:p>
            <a:pPr lvl="0">
              <a:spcAft>
                <a:spcPts val="418"/>
              </a:spcAft>
            </a:pPr>
            <a:r>
              <a:rPr lang="en-US" smtClean="0"/>
              <a:t>Click to edit Master text styles</a:t>
            </a:r>
          </a:p>
          <a:p>
            <a:pPr lvl="1">
              <a:spcAft>
                <a:spcPts val="418"/>
              </a:spcAft>
            </a:pPr>
            <a:r>
              <a:rPr lang="en-US" smtClean="0"/>
              <a:t>Second level</a:t>
            </a:r>
          </a:p>
          <a:p>
            <a:pPr lvl="2">
              <a:spcAft>
                <a:spcPts val="418"/>
              </a:spcAft>
            </a:pPr>
            <a:r>
              <a:rPr lang="en-US" smtClean="0"/>
              <a:t>Third level</a:t>
            </a:r>
          </a:p>
          <a:p>
            <a:pPr lvl="3">
              <a:spcAft>
                <a:spcPts val="418"/>
              </a:spcAft>
            </a:pPr>
            <a:r>
              <a:rPr lang="en-US" smtClean="0"/>
              <a:t>Fourth level</a:t>
            </a:r>
          </a:p>
          <a:p>
            <a:pPr lvl="4">
              <a:spcAft>
                <a:spcPts val="418"/>
              </a:spcAft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32"/>
          </p:nvPr>
        </p:nvSpPr>
        <p:spPr>
          <a:xfrm>
            <a:off x="15040710" y="7282574"/>
            <a:ext cx="8761046" cy="1070976"/>
          </a:xfrm>
          <a:solidFill>
            <a:schemeClr val="tx2">
              <a:lumMod val="20000"/>
              <a:lumOff val="80000"/>
            </a:schemeClr>
          </a:solidFill>
        </p:spPr>
        <p:txBody>
          <a:bodyPr lIns="150266" tIns="225397" rIns="0" bIns="225397" anchor="ctr"/>
          <a:lstStyle>
            <a:lvl1pPr>
              <a:spcAft>
                <a:spcPts val="0"/>
              </a:spcAft>
              <a:defRPr sz="3200" b="1">
                <a:solidFill>
                  <a:schemeClr val="tx2"/>
                </a:solidFill>
              </a:defRPr>
            </a:lvl1pPr>
            <a:lvl2pPr marL="3607" indent="0">
              <a:spcAft>
                <a:spcPts val="0"/>
              </a:spcAft>
              <a:buNone/>
              <a:defRPr sz="3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/>
          </p:nvPr>
        </p:nvSpPr>
        <p:spPr>
          <a:xfrm>
            <a:off x="3520832" y="8444596"/>
            <a:ext cx="8721969" cy="3356692"/>
          </a:xfr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225397" tIns="75133" rIns="225397" bIns="0" numCol="1" spcCol="277992" anchor="t" anchorCtr="0" compatLnSpc="1">
            <a:prstTxWarp prst="textNoShape">
              <a:avLst/>
            </a:prstTxWarp>
          </a:bodyPr>
          <a:lstStyle>
            <a:lvl1pPr>
              <a:defRPr lang="en-GB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911" indent="-411302">
              <a:defRPr lang="en-GB" sz="3200" dirty="0" smtClean="0">
                <a:solidFill>
                  <a:schemeClr val="tx1"/>
                </a:solidFill>
              </a:defRPr>
            </a:lvl2pPr>
            <a:lvl3pPr marL="811781" indent="-396870">
              <a:defRPr lang="en-GB" sz="3200" dirty="0" smtClean="0">
                <a:solidFill>
                  <a:schemeClr val="tx1"/>
                </a:solidFill>
              </a:defRPr>
            </a:lvl3pPr>
            <a:lvl4pPr marL="1226690" indent="-414911">
              <a:defRPr lang="en-GB" sz="3200" dirty="0" smtClean="0">
                <a:solidFill>
                  <a:schemeClr val="tx1"/>
                </a:solidFill>
              </a:defRPr>
            </a:lvl4pPr>
            <a:lvl5pPr marL="1623560" indent="-396870">
              <a:defRPr lang="en-GB" sz="3200" dirty="0">
                <a:solidFill>
                  <a:schemeClr val="tx1"/>
                </a:solidFill>
              </a:defRPr>
            </a:lvl5pPr>
          </a:lstStyle>
          <a:p>
            <a:pPr lvl="0">
              <a:spcAft>
                <a:spcPts val="418"/>
              </a:spcAft>
            </a:pPr>
            <a:r>
              <a:rPr lang="en-US" smtClean="0"/>
              <a:t>Click to edit Master text styles</a:t>
            </a:r>
          </a:p>
          <a:p>
            <a:pPr lvl="1">
              <a:spcAft>
                <a:spcPts val="418"/>
              </a:spcAft>
            </a:pPr>
            <a:r>
              <a:rPr lang="en-US" smtClean="0"/>
              <a:t>Second level</a:t>
            </a:r>
          </a:p>
          <a:p>
            <a:pPr lvl="2">
              <a:spcAft>
                <a:spcPts val="418"/>
              </a:spcAft>
            </a:pPr>
            <a:r>
              <a:rPr lang="en-US" smtClean="0"/>
              <a:t>Third level</a:t>
            </a:r>
          </a:p>
          <a:p>
            <a:pPr lvl="3">
              <a:spcAft>
                <a:spcPts val="418"/>
              </a:spcAft>
            </a:pPr>
            <a:r>
              <a:rPr lang="en-US" smtClean="0"/>
              <a:t>Fourth level</a:t>
            </a:r>
          </a:p>
          <a:p>
            <a:pPr lvl="4">
              <a:spcAft>
                <a:spcPts val="418"/>
              </a:spcAft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3520832" y="7282574"/>
            <a:ext cx="8721969" cy="1070976"/>
          </a:xfrm>
          <a:solidFill>
            <a:schemeClr val="tx2">
              <a:lumMod val="20000"/>
              <a:lumOff val="80000"/>
            </a:schemeClr>
          </a:solidFill>
        </p:spPr>
        <p:txBody>
          <a:bodyPr lIns="150266" tIns="225397" rIns="0" bIns="225397" anchor="ctr"/>
          <a:lstStyle>
            <a:lvl1pPr>
              <a:spcAft>
                <a:spcPts val="0"/>
              </a:spcAft>
              <a:defRPr sz="3200" b="1">
                <a:solidFill>
                  <a:schemeClr val="tx2"/>
                </a:solidFill>
              </a:defRPr>
            </a:lvl1pPr>
            <a:lvl2pPr marL="3607" indent="0">
              <a:spcAft>
                <a:spcPts val="0"/>
              </a:spcAft>
              <a:buNone/>
              <a:defRPr sz="3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3" name="Text Placeholder 18"/>
          <p:cNvSpPr>
            <a:spLocks noGrp="1"/>
          </p:cNvSpPr>
          <p:nvPr>
            <p:ph type="body" sz="quarter" idx="23"/>
          </p:nvPr>
        </p:nvSpPr>
        <p:spPr>
          <a:xfrm>
            <a:off x="15040710" y="3651476"/>
            <a:ext cx="8761046" cy="3356692"/>
          </a:xfr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225397" tIns="75133" rIns="225397" bIns="0" numCol="1" spcCol="277992" anchor="t" anchorCtr="0" compatLnSpc="1">
            <a:prstTxWarp prst="textNoShape">
              <a:avLst/>
            </a:prstTxWarp>
          </a:bodyPr>
          <a:lstStyle>
            <a:lvl1pPr>
              <a:defRPr lang="en-GB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911" indent="-411302">
              <a:defRPr lang="en-GB" sz="3200" smtClean="0">
                <a:solidFill>
                  <a:schemeClr val="tx1"/>
                </a:solidFill>
              </a:defRPr>
            </a:lvl2pPr>
            <a:lvl3pPr marL="811781" indent="-396870">
              <a:defRPr lang="en-GB" sz="3200" smtClean="0">
                <a:solidFill>
                  <a:schemeClr val="tx1"/>
                </a:solidFill>
              </a:defRPr>
            </a:lvl3pPr>
            <a:lvl4pPr marL="1226690" indent="-414911">
              <a:defRPr lang="en-GB" sz="3200" smtClean="0">
                <a:solidFill>
                  <a:schemeClr val="tx1"/>
                </a:solidFill>
              </a:defRPr>
            </a:lvl4pPr>
            <a:lvl5pPr marL="1623560" indent="-396870">
              <a:defRPr lang="en-GB" sz="3200" dirty="0">
                <a:solidFill>
                  <a:schemeClr val="tx1"/>
                </a:solidFill>
              </a:defRPr>
            </a:lvl5pPr>
          </a:lstStyle>
          <a:p>
            <a:pPr lvl="0">
              <a:spcAft>
                <a:spcPts val="418"/>
              </a:spcAft>
            </a:pPr>
            <a:r>
              <a:rPr lang="en-US" smtClean="0"/>
              <a:t>Click to edit Master text styles</a:t>
            </a:r>
          </a:p>
          <a:p>
            <a:pPr lvl="1">
              <a:spcAft>
                <a:spcPts val="418"/>
              </a:spcAft>
            </a:pPr>
            <a:r>
              <a:rPr lang="en-US" smtClean="0"/>
              <a:t>Second level</a:t>
            </a:r>
          </a:p>
          <a:p>
            <a:pPr lvl="2">
              <a:spcAft>
                <a:spcPts val="418"/>
              </a:spcAft>
            </a:pPr>
            <a:r>
              <a:rPr lang="en-US" smtClean="0"/>
              <a:t>Third level</a:t>
            </a:r>
          </a:p>
          <a:p>
            <a:pPr lvl="3">
              <a:spcAft>
                <a:spcPts val="418"/>
              </a:spcAft>
            </a:pPr>
            <a:r>
              <a:rPr lang="en-US" smtClean="0"/>
              <a:t>Fourth level</a:t>
            </a:r>
          </a:p>
          <a:p>
            <a:pPr lvl="4">
              <a:spcAft>
                <a:spcPts val="418"/>
              </a:spcAft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15040709" y="2499718"/>
            <a:ext cx="8721969" cy="1070976"/>
          </a:xfrm>
          <a:solidFill>
            <a:schemeClr val="tx2">
              <a:lumMod val="20000"/>
              <a:lumOff val="80000"/>
            </a:schemeClr>
          </a:solidFill>
        </p:spPr>
        <p:txBody>
          <a:bodyPr lIns="150266" tIns="225397" rIns="0" bIns="225397" anchor="ctr"/>
          <a:lstStyle>
            <a:lvl1pPr>
              <a:spcAft>
                <a:spcPts val="0"/>
              </a:spcAft>
              <a:defRPr sz="3200" b="1">
                <a:solidFill>
                  <a:schemeClr val="tx2"/>
                </a:solidFill>
              </a:defRPr>
            </a:lvl1pPr>
            <a:lvl2pPr marL="3607" indent="0">
              <a:spcAft>
                <a:spcPts val="0"/>
              </a:spcAft>
              <a:buNone/>
              <a:defRPr sz="3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24"/>
          </p:nvPr>
        </p:nvSpPr>
        <p:spPr>
          <a:xfrm>
            <a:off x="3520832" y="3651476"/>
            <a:ext cx="8721969" cy="3356692"/>
          </a:xfr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225397" tIns="75133" rIns="225397" bIns="0" numCol="1" spcCol="277992" anchor="t" anchorCtr="0" compatLnSpc="1">
            <a:prstTxWarp prst="textNoShape">
              <a:avLst/>
            </a:prstTxWarp>
          </a:bodyPr>
          <a:lstStyle>
            <a:lvl1pPr>
              <a:defRPr lang="en-GB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911" indent="-411302">
              <a:defRPr lang="en-GB" sz="3200" dirty="0" smtClean="0">
                <a:solidFill>
                  <a:schemeClr val="tx1"/>
                </a:solidFill>
              </a:defRPr>
            </a:lvl2pPr>
            <a:lvl3pPr marL="811781" indent="-396870">
              <a:defRPr lang="en-GB" sz="3200" dirty="0" smtClean="0">
                <a:solidFill>
                  <a:schemeClr val="tx1"/>
                </a:solidFill>
              </a:defRPr>
            </a:lvl3pPr>
            <a:lvl4pPr marL="1226690" indent="-414911">
              <a:defRPr lang="en-GB" sz="3200" dirty="0" smtClean="0">
                <a:solidFill>
                  <a:schemeClr val="tx1"/>
                </a:solidFill>
              </a:defRPr>
            </a:lvl4pPr>
            <a:lvl5pPr marL="1623560" indent="-396870">
              <a:defRPr lang="en-GB" sz="3200" dirty="0">
                <a:solidFill>
                  <a:schemeClr val="tx1"/>
                </a:solidFill>
              </a:defRPr>
            </a:lvl5pPr>
          </a:lstStyle>
          <a:p>
            <a:pPr lvl="0">
              <a:spcAft>
                <a:spcPts val="418"/>
              </a:spcAft>
            </a:pPr>
            <a:r>
              <a:rPr lang="en-US" smtClean="0"/>
              <a:t>Click to edit Master text styles</a:t>
            </a:r>
          </a:p>
          <a:p>
            <a:pPr lvl="1">
              <a:spcAft>
                <a:spcPts val="418"/>
              </a:spcAft>
            </a:pPr>
            <a:r>
              <a:rPr lang="en-US" smtClean="0"/>
              <a:t>Second level</a:t>
            </a:r>
          </a:p>
          <a:p>
            <a:pPr lvl="2">
              <a:spcAft>
                <a:spcPts val="418"/>
              </a:spcAft>
            </a:pPr>
            <a:r>
              <a:rPr lang="en-US" smtClean="0"/>
              <a:t>Third level</a:t>
            </a:r>
          </a:p>
          <a:p>
            <a:pPr lvl="3">
              <a:spcAft>
                <a:spcPts val="418"/>
              </a:spcAft>
            </a:pPr>
            <a:r>
              <a:rPr lang="en-US" smtClean="0"/>
              <a:t>Fourth level</a:t>
            </a:r>
          </a:p>
          <a:p>
            <a:pPr lvl="4">
              <a:spcAft>
                <a:spcPts val="418"/>
              </a:spcAft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520832" y="2511238"/>
            <a:ext cx="8721969" cy="1070976"/>
          </a:xfrm>
          <a:solidFill>
            <a:schemeClr val="tx2">
              <a:lumMod val="20000"/>
              <a:lumOff val="80000"/>
            </a:schemeClr>
          </a:solidFill>
        </p:spPr>
        <p:txBody>
          <a:bodyPr lIns="150266" tIns="225397" rIns="0" bIns="225397" anchor="ctr"/>
          <a:lstStyle>
            <a:lvl1pPr>
              <a:spcAft>
                <a:spcPts val="0"/>
              </a:spcAft>
              <a:defRPr sz="3200" b="1">
                <a:solidFill>
                  <a:schemeClr val="tx2"/>
                </a:solidFill>
              </a:defRPr>
            </a:lvl1pPr>
            <a:lvl2pPr marL="3607" indent="0">
              <a:spcAft>
                <a:spcPts val="0"/>
              </a:spcAft>
              <a:buNone/>
              <a:defRPr sz="3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219474" algn="l"/>
              </a:tabLst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80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571500"/>
            <a:ext cx="24384000" cy="121005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12" name="Rectangle 3"/>
          <p:cNvSpPr/>
          <p:nvPr userDrawn="1"/>
        </p:nvSpPr>
        <p:spPr bwMode="auto">
          <a:xfrm rot="10800000">
            <a:off x="707291" y="571495"/>
            <a:ext cx="23094464" cy="1204595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187832" tIns="97672" rIns="187832" bIns="97672" numCol="1" rtlCol="0" anchor="ctr" anchorCtr="0" compatLnSpc="1">
            <a:prstTxWarp prst="textNoShape">
              <a:avLst/>
            </a:prstTxWarp>
          </a:bodyPr>
          <a:lstStyle/>
          <a:p>
            <a:pPr algn="ctr" defTabSz="1908373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0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20833" y="10796264"/>
            <a:ext cx="17342338" cy="969556"/>
          </a:xfrm>
          <a:ln>
            <a:noFill/>
          </a:ln>
        </p:spPr>
        <p:txBody>
          <a:bodyPr numCol="1" spcCol="375664" anchor="ctr"/>
          <a:lstStyle>
            <a:lvl1pPr marL="0" marR="0" indent="0" algn="l" defTabSz="19083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bg2"/>
              </a:buClr>
              <a:buSzTx/>
              <a:buFont typeface="Symbol" pitchFamily="18" charset="2"/>
              <a:buNone/>
              <a:tabLst/>
              <a:defRPr sz="3200" baseline="0">
                <a:solidFill>
                  <a:schemeClr val="bg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r" defTabSz="19083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chemeClr val="bg2"/>
              </a:buClr>
              <a:buSzTx/>
              <a:buFont typeface="Symbol" pitchFamily="18" charset="2"/>
              <a:buNone/>
              <a:tabLst/>
              <a:defRPr/>
            </a:pPr>
            <a:r>
              <a:rPr lang="en-US" dirty="0" smtClean="0"/>
              <a:t>name, title, compan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20833" y="2508250"/>
            <a:ext cx="17342338" cy="8108500"/>
          </a:xfrm>
        </p:spPr>
        <p:txBody>
          <a:bodyPr anchor="ctr"/>
          <a:lstStyle>
            <a:lvl1pPr algn="l">
              <a:defRPr sz="550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Quote her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3520832" y="13246435"/>
            <a:ext cx="7721600" cy="230390"/>
          </a:xfrm>
          <a:prstGeom prst="rect">
            <a:avLst/>
          </a:prstGeom>
        </p:spPr>
        <p:txBody>
          <a:bodyPr lIns="207816" tIns="103908" rIns="207816" bIns="103908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US" sz="3200" kern="1200" dirty="0" smtClean="0">
                <a:solidFill>
                  <a:srgbClr val="5E707D"/>
                </a:solidFill>
                <a:latin typeface="Arial" charset="0"/>
              </a:rPr>
              <a:t> </a:t>
            </a:r>
            <a:endParaRPr lang="en-US" sz="3200" kern="1200" dirty="0">
              <a:solidFill>
                <a:srgbClr val="5E707D"/>
              </a:solidFill>
              <a:latin typeface="Arial" charset="0"/>
            </a:endParaRPr>
          </a:p>
        </p:txBody>
      </p:sp>
      <p:grpSp>
        <p:nvGrpSpPr>
          <p:cNvPr id="14" name="Group 13"/>
          <p:cNvGrpSpPr>
            <a:grpSpLocks noChangeAspect="1"/>
          </p:cNvGrpSpPr>
          <p:nvPr userDrawn="1"/>
        </p:nvGrpSpPr>
        <p:grpSpPr>
          <a:xfrm>
            <a:off x="874299" y="1713257"/>
            <a:ext cx="2505812" cy="1589986"/>
            <a:chOff x="3968017" y="1883295"/>
            <a:chExt cx="4181068" cy="3265189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5" name="Rectangle 5"/>
            <p:cNvSpPr/>
            <p:nvPr/>
          </p:nvSpPr>
          <p:spPr bwMode="auto">
            <a:xfrm>
              <a:off x="3968017" y="1883295"/>
              <a:ext cx="1951293" cy="3265189"/>
            </a:xfrm>
            <a:custGeom>
              <a:avLst/>
              <a:gdLst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5670 w 1951293"/>
                <a:gd name="connsiteY6" fmla="*/ 1482434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5670 w 1951293"/>
                <a:gd name="connsiteY6" fmla="*/ 1482434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90873 w 1951293"/>
                <a:gd name="connsiteY2" fmla="*/ 1500065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1293" h="3265189">
                  <a:moveTo>
                    <a:pt x="1818018" y="0"/>
                  </a:moveTo>
                  <a:cubicBezTo>
                    <a:pt x="1859539" y="211758"/>
                    <a:pt x="1901062" y="449646"/>
                    <a:pt x="1951293" y="661404"/>
                  </a:cubicBezTo>
                  <a:cubicBezTo>
                    <a:pt x="1346334" y="670853"/>
                    <a:pt x="1062737" y="1078607"/>
                    <a:pt x="1090873" y="1500065"/>
                  </a:cubicBezTo>
                  <a:lnTo>
                    <a:pt x="1759133" y="1504338"/>
                  </a:lnTo>
                  <a:cubicBezTo>
                    <a:pt x="1759133" y="2091288"/>
                    <a:pt x="1759132" y="2678239"/>
                    <a:pt x="1759132" y="3265189"/>
                  </a:cubicBezTo>
                  <a:lnTo>
                    <a:pt x="0" y="3265189"/>
                  </a:lnTo>
                  <a:lnTo>
                    <a:pt x="22762" y="1537982"/>
                  </a:lnTo>
                  <a:cubicBezTo>
                    <a:pt x="112256" y="842619"/>
                    <a:pt x="342356" y="61301"/>
                    <a:pt x="1818018" y="0"/>
                  </a:cubicBezTo>
                  <a:close/>
                </a:path>
              </a:pathLst>
            </a:custGeom>
            <a:grp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  <p:sp>
          <p:nvSpPr>
            <p:cNvPr id="16" name="Rectangle 5"/>
            <p:cNvSpPr/>
            <p:nvPr/>
          </p:nvSpPr>
          <p:spPr bwMode="auto">
            <a:xfrm>
              <a:off x="6197792" y="1883295"/>
              <a:ext cx="1951293" cy="3265189"/>
            </a:xfrm>
            <a:custGeom>
              <a:avLst/>
              <a:gdLst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5670 w 1951293"/>
                <a:gd name="connsiteY6" fmla="*/ 1482434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5670 w 1951293"/>
                <a:gd name="connsiteY6" fmla="*/ 1482434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90873 w 1951293"/>
                <a:gd name="connsiteY2" fmla="*/ 1500065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1293" h="3265189">
                  <a:moveTo>
                    <a:pt x="1818018" y="0"/>
                  </a:moveTo>
                  <a:cubicBezTo>
                    <a:pt x="1859539" y="211758"/>
                    <a:pt x="1901062" y="449646"/>
                    <a:pt x="1951293" y="661404"/>
                  </a:cubicBezTo>
                  <a:cubicBezTo>
                    <a:pt x="1346334" y="670853"/>
                    <a:pt x="1062737" y="1078607"/>
                    <a:pt x="1090873" y="1500065"/>
                  </a:cubicBezTo>
                  <a:lnTo>
                    <a:pt x="1759133" y="1504338"/>
                  </a:lnTo>
                  <a:cubicBezTo>
                    <a:pt x="1759133" y="2091288"/>
                    <a:pt x="1759132" y="2678239"/>
                    <a:pt x="1759132" y="3265189"/>
                  </a:cubicBezTo>
                  <a:lnTo>
                    <a:pt x="0" y="3265189"/>
                  </a:lnTo>
                  <a:lnTo>
                    <a:pt x="22762" y="1537982"/>
                  </a:lnTo>
                  <a:cubicBezTo>
                    <a:pt x="112256" y="842619"/>
                    <a:pt x="342356" y="61301"/>
                    <a:pt x="1818018" y="0"/>
                  </a:cubicBezTo>
                  <a:close/>
                </a:path>
              </a:pathLst>
            </a:custGeom>
            <a:grp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</p:grpSp>
      <p:grpSp>
        <p:nvGrpSpPr>
          <p:cNvPr id="17" name="Group 16"/>
          <p:cNvGrpSpPr/>
          <p:nvPr userDrawn="1"/>
        </p:nvGrpSpPr>
        <p:grpSpPr>
          <a:xfrm rot="10800000">
            <a:off x="20993844" y="9783271"/>
            <a:ext cx="2525090" cy="1602218"/>
            <a:chOff x="3968017" y="1883295"/>
            <a:chExt cx="4181068" cy="3265189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8" name="Rectangle 5"/>
            <p:cNvSpPr/>
            <p:nvPr/>
          </p:nvSpPr>
          <p:spPr bwMode="auto">
            <a:xfrm>
              <a:off x="3968017" y="1883295"/>
              <a:ext cx="1951293" cy="3265189"/>
            </a:xfrm>
            <a:custGeom>
              <a:avLst/>
              <a:gdLst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5670 w 1951293"/>
                <a:gd name="connsiteY6" fmla="*/ 1482434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5670 w 1951293"/>
                <a:gd name="connsiteY6" fmla="*/ 1482434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90873 w 1951293"/>
                <a:gd name="connsiteY2" fmla="*/ 1500065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1293" h="3265189">
                  <a:moveTo>
                    <a:pt x="1818018" y="0"/>
                  </a:moveTo>
                  <a:cubicBezTo>
                    <a:pt x="1859539" y="211758"/>
                    <a:pt x="1901062" y="449646"/>
                    <a:pt x="1951293" y="661404"/>
                  </a:cubicBezTo>
                  <a:cubicBezTo>
                    <a:pt x="1346334" y="670853"/>
                    <a:pt x="1062737" y="1078607"/>
                    <a:pt x="1090873" y="1500065"/>
                  </a:cubicBezTo>
                  <a:lnTo>
                    <a:pt x="1759133" y="1504338"/>
                  </a:lnTo>
                  <a:cubicBezTo>
                    <a:pt x="1759133" y="2091288"/>
                    <a:pt x="1759132" y="2678239"/>
                    <a:pt x="1759132" y="3265189"/>
                  </a:cubicBezTo>
                  <a:lnTo>
                    <a:pt x="0" y="3265189"/>
                  </a:lnTo>
                  <a:lnTo>
                    <a:pt x="22762" y="1537982"/>
                  </a:lnTo>
                  <a:cubicBezTo>
                    <a:pt x="112256" y="842619"/>
                    <a:pt x="342356" y="61301"/>
                    <a:pt x="1818018" y="0"/>
                  </a:cubicBezTo>
                  <a:close/>
                </a:path>
              </a:pathLst>
            </a:custGeom>
            <a:grp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  <p:sp>
          <p:nvSpPr>
            <p:cNvPr id="19" name="Rectangle 5"/>
            <p:cNvSpPr/>
            <p:nvPr/>
          </p:nvSpPr>
          <p:spPr bwMode="auto">
            <a:xfrm>
              <a:off x="6197792" y="1883295"/>
              <a:ext cx="1951293" cy="3265189"/>
            </a:xfrm>
            <a:custGeom>
              <a:avLst/>
              <a:gdLst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5670 w 1951293"/>
                <a:gd name="connsiteY6" fmla="*/ 1482434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5670 w 1951293"/>
                <a:gd name="connsiteY6" fmla="*/ 1482434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73781 w 1951293"/>
                <a:gd name="connsiteY2" fmla="*/ 1504338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  <a:gd name="connsiteX0" fmla="*/ 1818018 w 1951293"/>
                <a:gd name="connsiteY0" fmla="*/ 0 h 3265189"/>
                <a:gd name="connsiteX1" fmla="*/ 1951293 w 1951293"/>
                <a:gd name="connsiteY1" fmla="*/ 661404 h 3265189"/>
                <a:gd name="connsiteX2" fmla="*/ 1090873 w 1951293"/>
                <a:gd name="connsiteY2" fmla="*/ 1500065 h 3265189"/>
                <a:gd name="connsiteX3" fmla="*/ 1759133 w 1951293"/>
                <a:gd name="connsiteY3" fmla="*/ 1504338 h 3265189"/>
                <a:gd name="connsiteX4" fmla="*/ 1759132 w 1951293"/>
                <a:gd name="connsiteY4" fmla="*/ 3265189 h 3265189"/>
                <a:gd name="connsiteX5" fmla="*/ 0 w 1951293"/>
                <a:gd name="connsiteY5" fmla="*/ 3265189 h 3265189"/>
                <a:gd name="connsiteX6" fmla="*/ 22762 w 1951293"/>
                <a:gd name="connsiteY6" fmla="*/ 1537982 h 3265189"/>
                <a:gd name="connsiteX7" fmla="*/ 1818018 w 1951293"/>
                <a:gd name="connsiteY7" fmla="*/ 0 h 326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1293" h="3265189">
                  <a:moveTo>
                    <a:pt x="1818018" y="0"/>
                  </a:moveTo>
                  <a:cubicBezTo>
                    <a:pt x="1859539" y="211758"/>
                    <a:pt x="1901062" y="449646"/>
                    <a:pt x="1951293" y="661404"/>
                  </a:cubicBezTo>
                  <a:cubicBezTo>
                    <a:pt x="1346334" y="670853"/>
                    <a:pt x="1062737" y="1078607"/>
                    <a:pt x="1090873" y="1500065"/>
                  </a:cubicBezTo>
                  <a:lnTo>
                    <a:pt x="1759133" y="1504338"/>
                  </a:lnTo>
                  <a:cubicBezTo>
                    <a:pt x="1759133" y="2091288"/>
                    <a:pt x="1759132" y="2678239"/>
                    <a:pt x="1759132" y="3265189"/>
                  </a:cubicBezTo>
                  <a:lnTo>
                    <a:pt x="0" y="3265189"/>
                  </a:lnTo>
                  <a:lnTo>
                    <a:pt x="22762" y="1537982"/>
                  </a:lnTo>
                  <a:cubicBezTo>
                    <a:pt x="112256" y="842619"/>
                    <a:pt x="342356" y="61301"/>
                    <a:pt x="1818018" y="0"/>
                  </a:cubicBezTo>
                  <a:close/>
                </a:path>
              </a:pathLst>
            </a:custGeom>
            <a:grp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2078157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Font typeface="Symbol" pitchFamily="18" charset="2"/>
                <a:buNone/>
              </a:pPr>
              <a:endParaRPr lang="en-US" sz="3200" kern="1200" dirty="0" smtClean="0">
                <a:solidFill>
                  <a:srgbClr val="737377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3453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571500"/>
            <a:ext cx="24384000" cy="121005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9315940" y="571502"/>
            <a:ext cx="14485817" cy="12045948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048759" y="5835653"/>
            <a:ext cx="10544367" cy="3024522"/>
          </a:xfrm>
        </p:spPr>
        <p:txBody>
          <a:bodyPr lIns="163634" tIns="163634" rIns="163634" bIns="163634" anchor="b"/>
          <a:lstStyle>
            <a:lvl1pPr>
              <a:defRPr sz="6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7975386" y="9077329"/>
            <a:ext cx="5826370" cy="3301998"/>
          </a:xfrm>
        </p:spPr>
        <p:txBody>
          <a:bodyPr anchor="b"/>
          <a:lstStyle>
            <a:lvl1pPr algn="l">
              <a:defRPr sz="26100">
                <a:solidFill>
                  <a:schemeClr val="bg1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##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12242803" y="9077326"/>
            <a:ext cx="11518028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2048759" y="9420609"/>
            <a:ext cx="5926629" cy="2958718"/>
          </a:xfrm>
        </p:spPr>
        <p:txBody>
          <a:bodyPr lIns="163634" tIns="163634" rIns="163634" bIns="16363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divider subtitle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707294" y="571503"/>
            <a:ext cx="8608645" cy="12045950"/>
          </a:xfrm>
          <a:blipFill>
            <a:blip r:embed="rId2"/>
            <a:stretch>
              <a:fillRect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520832" y="13246435"/>
            <a:ext cx="7721600" cy="230390"/>
          </a:xfrm>
          <a:prstGeom prst="rect">
            <a:avLst/>
          </a:prstGeom>
        </p:spPr>
        <p:txBody>
          <a:bodyPr vert="horz" lIns="0" tIns="163634" rIns="81817" bIns="163634" rtlCol="0" anchor="ctr"/>
          <a:lstStyle>
            <a:lvl1pPr algn="l">
              <a:defRPr sz="1400">
                <a:solidFill>
                  <a:schemeClr val="bg2"/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US" kern="1200" dirty="0" smtClean="0">
                <a:solidFill>
                  <a:srgbClr val="5E707D"/>
                </a:solidFill>
                <a:latin typeface="Arial" charset="0"/>
              </a:rPr>
              <a:t> </a:t>
            </a:r>
            <a:endParaRPr lang="en-US" kern="1200" dirty="0">
              <a:solidFill>
                <a:srgbClr val="5E707D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55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0" y="571501"/>
            <a:ext cx="24384000" cy="12100498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654735" y="571502"/>
            <a:ext cx="23147023" cy="12045948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3" tIns="106362" rIns="204543" bIns="106362" numCol="1" rtlCol="0" anchor="ctr" anchorCtr="0" compatLnSpc="1">
            <a:prstTxWarp prst="textNoShape">
              <a:avLst/>
            </a:prstTxWarp>
          </a:bodyPr>
          <a:lstStyle/>
          <a:p>
            <a:pPr algn="ctr" defTabSz="2078157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endParaRPr lang="en-US" sz="3200" kern="1200" dirty="0" smtClean="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048759" y="2508250"/>
            <a:ext cx="10544367" cy="6351924"/>
          </a:xfrm>
        </p:spPr>
        <p:txBody>
          <a:bodyPr lIns="163634" tIns="163634" rIns="163634" bIns="163634" anchor="b"/>
          <a:lstStyle>
            <a:lvl1pPr>
              <a:defRPr sz="6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54733" y="2508251"/>
            <a:ext cx="11103919" cy="8861366"/>
          </a:xfrm>
        </p:spPr>
        <p:txBody>
          <a:bodyPr anchor="ctr"/>
          <a:lstStyle>
            <a:lvl1pPr algn="r">
              <a:defRPr sz="54300">
                <a:solidFill>
                  <a:schemeClr val="bg1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##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12242801" y="9077326"/>
            <a:ext cx="1155895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2048759" y="9420609"/>
            <a:ext cx="10544367" cy="2958718"/>
          </a:xfrm>
        </p:spPr>
        <p:txBody>
          <a:bodyPr lIns="163634" tIns="163634" rIns="163634" bIns="16363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divider subtitle</a:t>
            </a: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520832" y="13246435"/>
            <a:ext cx="7721600" cy="230390"/>
          </a:xfrm>
          <a:prstGeom prst="rect">
            <a:avLst/>
          </a:prstGeom>
        </p:spPr>
        <p:txBody>
          <a:bodyPr vert="horz" lIns="0" tIns="163634" rIns="81817" bIns="163634" rtlCol="0" anchor="ctr"/>
          <a:lstStyle>
            <a:lvl1pPr algn="l">
              <a:defRPr sz="1400">
                <a:solidFill>
                  <a:schemeClr val="bg2"/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US" kern="1200" dirty="0" smtClean="0">
                <a:solidFill>
                  <a:srgbClr val="5E707D"/>
                </a:solidFill>
                <a:latin typeface="Arial" charset="0"/>
              </a:rPr>
              <a:t> </a:t>
            </a:r>
            <a:endParaRPr lang="en-US" kern="1200" dirty="0">
              <a:solidFill>
                <a:srgbClr val="5E707D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9323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1778000" y="2298700"/>
            <a:ext cx="20828000" cy="46482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1778000" y="7073900"/>
            <a:ext cx="20828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/>
            </a:lvl1pPr>
            <a:lvl2pPr marL="0" indent="228600" algn="ctr">
              <a:spcBef>
                <a:spcPts val="0"/>
              </a:spcBef>
              <a:buSzTx/>
              <a:buNone/>
              <a:defRPr sz="4400"/>
            </a:lvl2pPr>
            <a:lvl3pPr marL="0" indent="457200" algn="ctr">
              <a:spcBef>
                <a:spcPts val="0"/>
              </a:spcBef>
              <a:buSzTx/>
              <a:buNone/>
              <a:defRPr sz="4400"/>
            </a:lvl3pPr>
            <a:lvl4pPr marL="0" indent="685800" algn="ctr">
              <a:spcBef>
                <a:spcPts val="0"/>
              </a:spcBef>
              <a:buSzTx/>
              <a:buNone/>
              <a:defRPr sz="4400"/>
            </a:lvl4pPr>
            <a:lvl5pPr marL="0" indent="914400" algn="ctr">
              <a:spcBef>
                <a:spcPts val="0"/>
              </a:spcBef>
              <a:buSzTx/>
              <a:buNone/>
              <a:defRPr sz="4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32857211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635000" y="94488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635000" y="115189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/>
            </a:lvl1pPr>
            <a:lvl2pPr marL="0" indent="228600" algn="ctr">
              <a:spcBef>
                <a:spcPts val="0"/>
              </a:spcBef>
              <a:buSzTx/>
              <a:buNone/>
              <a:defRPr sz="4400"/>
            </a:lvl2pPr>
            <a:lvl3pPr marL="0" indent="457200" algn="ctr">
              <a:spcBef>
                <a:spcPts val="0"/>
              </a:spcBef>
              <a:buSzTx/>
              <a:buNone/>
              <a:defRPr sz="4400"/>
            </a:lvl3pPr>
            <a:lvl4pPr marL="0" indent="685800" algn="ctr">
              <a:spcBef>
                <a:spcPts val="0"/>
              </a:spcBef>
              <a:buSzTx/>
              <a:buNone/>
              <a:defRPr sz="4400"/>
            </a:lvl4pPr>
            <a:lvl5pPr marL="0" indent="914400" algn="ctr">
              <a:spcBef>
                <a:spcPts val="0"/>
              </a:spcBef>
              <a:buSzTx/>
              <a:buNone/>
              <a:defRPr sz="4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865797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778000" y="4533900"/>
            <a:ext cx="20828000" cy="46482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7711156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Center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 txBox="1">
            <a:spLocks noGrp="1"/>
          </p:cNvSpPr>
          <p:nvPr>
            <p:ph type="title"/>
          </p:nvPr>
        </p:nvSpPr>
        <p:spPr>
          <a:xfrm>
            <a:off x="1778000" y="4533900"/>
            <a:ext cx="20827999" cy="46481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457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9144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1143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1371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1600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1828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13165980" y="1104900"/>
            <a:ext cx="9525001" cy="11506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1651000" y="1104900"/>
            <a:ext cx="10223500" cy="5613400"/>
          </a:xfrm>
          <a:prstGeom prst="rect">
            <a:avLst/>
          </a:prstGeom>
        </p:spPr>
        <p:txBody>
          <a:bodyPr anchor="b"/>
          <a:lstStyle>
            <a:lvl1pPr>
              <a:defRPr sz="8400"/>
            </a:lvl1pPr>
          </a:lstStyle>
          <a:p>
            <a:r>
              <a:t>Title Text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1651000" y="6845300"/>
            <a:ext cx="10223500" cy="57658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/>
            </a:lvl1pPr>
            <a:lvl2pPr marL="0" indent="228600" algn="ctr">
              <a:spcBef>
                <a:spcPts val="0"/>
              </a:spcBef>
              <a:buSzTx/>
              <a:buNone/>
              <a:defRPr sz="4400"/>
            </a:lvl2pPr>
            <a:lvl3pPr marL="0" indent="457200" algn="ctr">
              <a:spcBef>
                <a:spcPts val="0"/>
              </a:spcBef>
              <a:buSzTx/>
              <a:buNone/>
              <a:defRPr sz="4400"/>
            </a:lvl3pPr>
            <a:lvl4pPr marL="0" indent="685800" algn="ctr">
              <a:spcBef>
                <a:spcPts val="0"/>
              </a:spcBef>
              <a:buSzTx/>
              <a:buNone/>
              <a:defRPr sz="4400"/>
            </a:lvl4pPr>
            <a:lvl5pPr marL="0" indent="914400" algn="ctr">
              <a:spcBef>
                <a:spcPts val="0"/>
              </a:spcBef>
              <a:buSzTx/>
              <a:buNone/>
              <a:defRPr sz="4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60795295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5021421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0771656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13169900" y="3238500"/>
            <a:ext cx="9525000" cy="9207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1689100" y="3238500"/>
            <a:ext cx="10007600" cy="9207500"/>
          </a:xfrm>
          <a:prstGeom prst="rect">
            <a:avLst/>
          </a:prstGeom>
        </p:spPr>
        <p:txBody>
          <a:bodyPr/>
          <a:lstStyle>
            <a:lvl1pPr marL="558800" indent="-558800">
              <a:spcBef>
                <a:spcPts val="4500"/>
              </a:spcBef>
              <a:defRPr sz="4500"/>
            </a:lvl1pPr>
            <a:lvl2pPr marL="1117600" indent="-558800">
              <a:spcBef>
                <a:spcPts val="4500"/>
              </a:spcBef>
              <a:defRPr sz="4500"/>
            </a:lvl2pPr>
            <a:lvl3pPr marL="1676400" indent="-558800">
              <a:spcBef>
                <a:spcPts val="4500"/>
              </a:spcBef>
              <a:defRPr sz="4500"/>
            </a:lvl3pPr>
            <a:lvl4pPr marL="2235200" indent="-558800">
              <a:spcBef>
                <a:spcPts val="4500"/>
              </a:spcBef>
              <a:defRPr sz="4500"/>
            </a:lvl4pPr>
            <a:lvl5pPr marL="2794000" indent="-558800">
              <a:spcBef>
                <a:spcPts val="4500"/>
              </a:spcBef>
              <a:defRPr sz="45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2132748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1689100" y="1778000"/>
            <a:ext cx="21005800" cy="10147300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8950448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15760700" y="7048500"/>
            <a:ext cx="7404100" cy="5549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15760700" y="1130300"/>
            <a:ext cx="7404100" cy="5549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idx="15"/>
          </p:nvPr>
        </p:nvSpPr>
        <p:spPr>
          <a:xfrm>
            <a:off x="1206500" y="1130300"/>
            <a:ext cx="14173200" cy="114681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0864205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2387600" y="8953500"/>
            <a:ext cx="19621500" cy="68580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8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–Johnny Appleseed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2387600" y="6045200"/>
            <a:ext cx="19621500" cy="88900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</a:lvl1pPr>
          </a:lstStyle>
          <a:p>
            <a:r>
              <a:t>“Type a quote here.” 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494904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6129753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55316693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&amp; Bullet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/>
          </p:cNvSpPr>
          <p:nvPr>
            <p:ph type="title"/>
          </p:nvPr>
        </p:nvSpPr>
        <p:spPr>
          <a:xfrm>
            <a:off x="1231900" y="863600"/>
            <a:ext cx="21907500" cy="2006600"/>
          </a:xfrm>
          <a:prstGeom prst="rect">
            <a:avLst/>
          </a:prstGeom>
        </p:spPr>
        <p:txBody>
          <a:bodyPr anchor="t"/>
          <a:lstStyle>
            <a:lvl1pPr algn="l">
              <a:defRPr sz="6200" cap="all" spc="992">
                <a:solidFill>
                  <a:srgbClr val="FFFFFF"/>
                </a:solidFill>
                <a:latin typeface="Avenir Light"/>
                <a:ea typeface="Avenir Light"/>
                <a:cs typeface="Avenir Light"/>
                <a:sym typeface="Avenir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18" name="Shape 118"/>
          <p:cNvSpPr>
            <a:spLocks noGrp="1"/>
          </p:cNvSpPr>
          <p:nvPr>
            <p:ph type="body" idx="1"/>
          </p:nvPr>
        </p:nvSpPr>
        <p:spPr>
          <a:xfrm>
            <a:off x="1231900" y="2844800"/>
            <a:ext cx="21907500" cy="9448800"/>
          </a:xfrm>
          <a:prstGeom prst="rect">
            <a:avLst/>
          </a:prstGeom>
        </p:spPr>
        <p:txBody>
          <a:bodyPr/>
          <a:lstStyle>
            <a:lvl1pPr>
              <a:buClr>
                <a:srgbClr val="646464"/>
              </a:buClr>
              <a:buSzPct val="90000"/>
              <a:defRPr sz="5000">
                <a:solidFill>
                  <a:srgbClr val="FFFFFF"/>
                </a:solidFill>
                <a:latin typeface="Avenir Light"/>
                <a:ea typeface="Avenir Light"/>
                <a:cs typeface="Avenir Light"/>
                <a:sym typeface="Avenir Light"/>
              </a:defRPr>
            </a:lvl1pPr>
            <a:lvl2pPr>
              <a:buClr>
                <a:srgbClr val="646464"/>
              </a:buClr>
              <a:buSzPct val="90000"/>
              <a:defRPr sz="5000">
                <a:solidFill>
                  <a:srgbClr val="FFFFFF"/>
                </a:solidFill>
                <a:latin typeface="Avenir Light"/>
                <a:ea typeface="Avenir Light"/>
                <a:cs typeface="Avenir Light"/>
                <a:sym typeface="Avenir Light"/>
              </a:defRPr>
            </a:lvl2pPr>
            <a:lvl3pPr>
              <a:buClr>
                <a:srgbClr val="646464"/>
              </a:buClr>
              <a:buSzPct val="90000"/>
              <a:defRPr sz="5000">
                <a:solidFill>
                  <a:srgbClr val="FFFFFF"/>
                </a:solidFill>
                <a:latin typeface="Avenir Light"/>
                <a:ea typeface="Avenir Light"/>
                <a:cs typeface="Avenir Light"/>
                <a:sym typeface="Avenir Light"/>
              </a:defRPr>
            </a:lvl3pPr>
            <a:lvl4pPr>
              <a:buClr>
                <a:srgbClr val="646464"/>
              </a:buClr>
              <a:buSzPct val="90000"/>
              <a:defRPr sz="5000">
                <a:solidFill>
                  <a:srgbClr val="FFFFFF"/>
                </a:solidFill>
                <a:latin typeface="Avenir Light"/>
                <a:ea typeface="Avenir Light"/>
                <a:cs typeface="Avenir Light"/>
                <a:sym typeface="Avenir Light"/>
              </a:defRPr>
            </a:lvl4pPr>
            <a:lvl5pPr>
              <a:buClr>
                <a:srgbClr val="646464"/>
              </a:buClr>
              <a:buSzPct val="90000"/>
              <a:defRPr sz="5000">
                <a:solidFill>
                  <a:srgbClr val="FFFFFF"/>
                </a:solidFill>
                <a:latin typeface="Avenir Light"/>
                <a:ea typeface="Avenir Light"/>
                <a:cs typeface="Avenir Light"/>
                <a:sym typeface="Avenir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9" name="Shape 119"/>
          <p:cNvSpPr>
            <a:spLocks noGrp="1"/>
          </p:cNvSpPr>
          <p:nvPr>
            <p:ph type="sldNum" sz="quarter" idx="2"/>
          </p:nvPr>
        </p:nvSpPr>
        <p:spPr>
          <a:xfrm>
            <a:off x="11950790" y="13049250"/>
            <a:ext cx="431293" cy="5207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Avenir Light"/>
                <a:ea typeface="Avenir Light"/>
                <a:cs typeface="Avenir Light"/>
                <a:sym typeface="Avenir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6234807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hoto - Vertical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>
            <a:spLocks noGrp="1"/>
          </p:cNvSpPr>
          <p:nvPr>
            <p:ph type="pic" idx="2"/>
          </p:nvPr>
        </p:nvSpPr>
        <p:spPr>
          <a:xfrm>
            <a:off x="13165979" y="1104900"/>
            <a:ext cx="9525001" cy="11506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635000" marR="0" lvl="0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title"/>
          </p:nvPr>
        </p:nvSpPr>
        <p:spPr>
          <a:xfrm>
            <a:off x="1651000" y="1104900"/>
            <a:ext cx="10223500" cy="5613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8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457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9144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1143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1371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1600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1828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8" name="Shape 28"/>
          <p:cNvSpPr txBox="1">
            <a:spLocks noGrp="1"/>
          </p:cNvSpPr>
          <p:nvPr>
            <p:ph type="body" idx="1"/>
          </p:nvPr>
        </p:nvSpPr>
        <p:spPr>
          <a:xfrm>
            <a:off x="1651000" y="6845300"/>
            <a:ext cx="10223500" cy="576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4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4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457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4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4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9144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4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9" name="Shape 29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09695" y="6007100"/>
            <a:ext cx="3243385" cy="447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0"/>
          <p:cNvGrpSpPr>
            <a:grpSpLocks/>
          </p:cNvGrpSpPr>
          <p:nvPr/>
        </p:nvGrpSpPr>
        <p:grpSpPr bwMode="auto">
          <a:xfrm>
            <a:off x="4962769" y="4260851"/>
            <a:ext cx="14520985" cy="3968750"/>
            <a:chOff x="1273" y="621"/>
            <a:chExt cx="3716" cy="2241"/>
          </a:xfrm>
        </p:grpSpPr>
        <p:cxnSp>
          <p:nvCxnSpPr>
            <p:cNvPr id="6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152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2"/>
            <p:cNvCxnSpPr>
              <a:cxnSpLocks noChangeShapeType="1"/>
            </p:cNvCxnSpPr>
            <p:nvPr userDrawn="1"/>
          </p:nvCxnSpPr>
          <p:spPr bwMode="auto">
            <a:xfrm rot="16200000" flipH="1">
              <a:off x="3868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168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404341" y="5348572"/>
            <a:ext cx="14071599" cy="1123384"/>
          </a:xfrm>
        </p:spPr>
        <p:txBody>
          <a:bodyPr/>
          <a:lstStyle>
            <a:lvl1pPr>
              <a:defRPr sz="7300" b="1" smtClean="0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7168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404341" y="6359526"/>
            <a:ext cx="14044246" cy="692497"/>
          </a:xfr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212513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9604" y="2192019"/>
            <a:ext cx="21344468" cy="3447098"/>
          </a:xfrm>
        </p:spPr>
        <p:txBody>
          <a:bodyPr/>
          <a:lstStyle>
            <a:lvl1pPr>
              <a:defRPr sz="3200">
                <a:latin typeface="+mn-lt"/>
              </a:defRPr>
            </a:lvl1pPr>
            <a:lvl2pPr>
              <a:defRPr sz="3200">
                <a:latin typeface="+mn-lt"/>
              </a:defRPr>
            </a:lvl2pPr>
            <a:lvl3pPr marL="1298848" indent="-779309">
              <a:defRPr sz="3200">
                <a:latin typeface="+mn-lt"/>
              </a:defRPr>
            </a:lvl3pPr>
            <a:lvl4pPr marL="1959097" indent="-660249">
              <a:defRPr sz="3200">
                <a:latin typeface="+mn-lt"/>
              </a:defRPr>
            </a:lvl4pPr>
            <a:lvl5pPr marL="2738406" indent="-779309">
              <a:defRPr sz="32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60063" y="882478"/>
            <a:ext cx="21500123" cy="692497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08695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8436" y="767061"/>
            <a:ext cx="21501098" cy="1046440"/>
          </a:xfrm>
        </p:spPr>
        <p:txBody>
          <a:bodyPr anchor="t"/>
          <a:lstStyle>
            <a:lvl1pPr>
              <a:defRPr sz="68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9604" y="2192018"/>
            <a:ext cx="21344468" cy="4365298"/>
          </a:xfrm>
        </p:spPr>
        <p:txBody>
          <a:bodyPr/>
          <a:lstStyle>
            <a:lvl1pPr marL="775702" indent="-775702">
              <a:lnSpc>
                <a:spcPct val="100000"/>
              </a:lnSpc>
              <a:spcBef>
                <a:spcPts val="2045"/>
              </a:spcBef>
              <a:buClrTx/>
              <a:buFont typeface="+mj-lt"/>
              <a:buAutoNum type="arabicPeriod"/>
              <a:defRPr sz="4500">
                <a:solidFill>
                  <a:schemeClr val="tx1"/>
                </a:solidFill>
                <a:latin typeface="+mn-lt"/>
              </a:defRPr>
            </a:lvl1pPr>
            <a:lvl2pPr marL="1551402" indent="-775702">
              <a:lnSpc>
                <a:spcPct val="100000"/>
              </a:lnSpc>
              <a:spcBef>
                <a:spcPts val="2045"/>
              </a:spcBef>
              <a:buFont typeface="+mj-lt"/>
              <a:buAutoNum type="alphaLcPeriod"/>
              <a:defRPr sz="4500">
                <a:latin typeface="+mn-lt"/>
              </a:defRPr>
            </a:lvl2pPr>
            <a:lvl3pPr marL="2330711" indent="-757661">
              <a:lnSpc>
                <a:spcPct val="100000"/>
              </a:lnSpc>
              <a:spcBef>
                <a:spcPts val="2045"/>
              </a:spcBef>
              <a:defRPr sz="4500">
                <a:latin typeface="+mn-lt"/>
              </a:defRPr>
            </a:lvl3pPr>
            <a:lvl4pPr marL="2604912" indent="-526755">
              <a:lnSpc>
                <a:spcPct val="100000"/>
              </a:lnSpc>
              <a:spcBef>
                <a:spcPts val="2045"/>
              </a:spcBef>
              <a:defRPr sz="4100">
                <a:latin typeface="+mn-lt"/>
              </a:defRPr>
            </a:lvl4pPr>
            <a:lvl5pPr marL="3243513" indent="-638601">
              <a:lnSpc>
                <a:spcPct val="100000"/>
              </a:lnSpc>
              <a:spcBef>
                <a:spcPts val="2045"/>
              </a:spcBef>
              <a:defRPr sz="41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967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51132" y="2212251"/>
            <a:ext cx="10469034" cy="3488134"/>
          </a:xfrm>
        </p:spPr>
        <p:txBody>
          <a:bodyPr/>
          <a:lstStyle>
            <a:lvl1pPr>
              <a:lnSpc>
                <a:spcPct val="100000"/>
              </a:lnSpc>
              <a:spcBef>
                <a:spcPts val="2045"/>
              </a:spcBef>
              <a:defRPr sz="3200"/>
            </a:lvl1pPr>
            <a:lvl2pPr marL="400479" indent="-400479">
              <a:lnSpc>
                <a:spcPct val="100000"/>
              </a:lnSpc>
              <a:spcBef>
                <a:spcPts val="2045"/>
              </a:spcBef>
              <a:buClr>
                <a:schemeClr val="tx1"/>
              </a:buClr>
              <a:buFont typeface="Wingdings" pitchFamily="2" charset="2"/>
              <a:buChar char=""/>
              <a:defRPr sz="3200"/>
            </a:lvl2pPr>
            <a:lvl3pPr marL="920019" indent="-519539">
              <a:lnSpc>
                <a:spcPct val="100000"/>
              </a:lnSpc>
              <a:spcBef>
                <a:spcPts val="2045"/>
              </a:spcBef>
              <a:defRPr sz="3200"/>
            </a:lvl3pPr>
            <a:lvl4pPr marL="1439558" indent="-519539">
              <a:lnSpc>
                <a:spcPct val="100000"/>
              </a:lnSpc>
              <a:spcBef>
                <a:spcPts val="2045"/>
              </a:spcBef>
              <a:defRPr sz="3200"/>
            </a:lvl4pPr>
            <a:lvl5pPr marL="1959097" indent="-519539">
              <a:lnSpc>
                <a:spcPct val="100000"/>
              </a:lnSpc>
              <a:spcBef>
                <a:spcPts val="2045"/>
              </a:spcBef>
              <a:defRPr sz="3200"/>
            </a:lvl5pPr>
            <a:lvl6pPr>
              <a:defRPr sz="4100"/>
            </a:lvl6pPr>
            <a:lvl7pPr>
              <a:defRPr sz="4100"/>
            </a:lvl7pPr>
            <a:lvl8pPr>
              <a:defRPr sz="4100"/>
            </a:lvl8pPr>
            <a:lvl9pPr>
              <a:defRPr sz="4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2755041" y="2292357"/>
            <a:ext cx="10422466" cy="9585326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29681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51132" y="2212251"/>
            <a:ext cx="10469034" cy="3488134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479" indent="-400479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019" indent="-519539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8848" indent="-378832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99327" indent="-400479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4100"/>
            </a:lvl6pPr>
            <a:lvl7pPr>
              <a:defRPr sz="4100"/>
            </a:lvl7pPr>
            <a:lvl8pPr>
              <a:defRPr sz="4100"/>
            </a:lvl8pPr>
            <a:lvl9pPr>
              <a:defRPr sz="4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4969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51132" y="2212251"/>
            <a:ext cx="10469034" cy="3488134"/>
          </a:xfrm>
        </p:spPr>
        <p:txBody>
          <a:bodyPr/>
          <a:lstStyle>
            <a:lvl1pPr>
              <a:lnSpc>
                <a:spcPct val="100000"/>
              </a:lnSpc>
              <a:spcBef>
                <a:spcPts val="2045"/>
              </a:spcBef>
              <a:defRPr sz="3200"/>
            </a:lvl1pPr>
            <a:lvl2pPr marL="400479" indent="-400479">
              <a:lnSpc>
                <a:spcPct val="100000"/>
              </a:lnSpc>
              <a:spcBef>
                <a:spcPts val="2045"/>
              </a:spcBef>
              <a:buClr>
                <a:schemeClr val="tx1"/>
              </a:buClr>
              <a:buFont typeface="Wingdings" pitchFamily="2" charset="2"/>
              <a:buChar char=""/>
              <a:defRPr sz="3200"/>
            </a:lvl2pPr>
            <a:lvl3pPr marL="920019" indent="-519539">
              <a:lnSpc>
                <a:spcPct val="100000"/>
              </a:lnSpc>
              <a:spcBef>
                <a:spcPts val="2045"/>
              </a:spcBef>
              <a:defRPr sz="3200"/>
            </a:lvl3pPr>
            <a:lvl4pPr marL="1298848" indent="-378832">
              <a:lnSpc>
                <a:spcPct val="100000"/>
              </a:lnSpc>
              <a:spcBef>
                <a:spcPts val="2045"/>
              </a:spcBef>
              <a:defRPr sz="3200"/>
            </a:lvl4pPr>
            <a:lvl5pPr marL="1699327" indent="-400479">
              <a:lnSpc>
                <a:spcPct val="100000"/>
              </a:lnSpc>
              <a:spcBef>
                <a:spcPts val="2045"/>
              </a:spcBef>
              <a:defRPr sz="3200"/>
            </a:lvl5pPr>
            <a:lvl6pPr>
              <a:defRPr sz="4100"/>
            </a:lvl6pPr>
            <a:lvl7pPr>
              <a:defRPr sz="4100"/>
            </a:lvl7pPr>
            <a:lvl8pPr>
              <a:defRPr sz="4100"/>
            </a:lvl8pPr>
            <a:lvl9pPr>
              <a:defRPr sz="4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2755041" y="2292355"/>
            <a:ext cx="10422466" cy="4580722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12728243" y="7316527"/>
            <a:ext cx="10422466" cy="4580722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94604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51131" y="7879479"/>
            <a:ext cx="10451707" cy="3488134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479" indent="-400479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309" indent="-378832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9788" indent="-400479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618" indent="-378832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4100"/>
            </a:lvl6pPr>
            <a:lvl7pPr>
              <a:defRPr sz="4100"/>
            </a:lvl7pPr>
            <a:lvl8pPr>
              <a:defRPr sz="4100"/>
            </a:lvl8pPr>
            <a:lvl9pPr>
              <a:defRPr sz="4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876024" y="2292357"/>
            <a:ext cx="10422466" cy="5163526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12728243" y="2292357"/>
            <a:ext cx="10422466" cy="5163526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12728236" y="7879479"/>
            <a:ext cx="10451707" cy="3488134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0479" indent="-400479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309" indent="-378832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9788" indent="-400479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618" indent="-378832" algn="l" rtl="0" eaLnBrk="1" fontAlgn="base" hangingPunct="1">
              <a:lnSpc>
                <a:spcPct val="100000"/>
              </a:lnSpc>
              <a:spcBef>
                <a:spcPts val="2045"/>
              </a:spcBef>
              <a:spcAft>
                <a:spcPct val="0"/>
              </a:spcAft>
              <a:defRPr lang="en-US" sz="3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4100"/>
            </a:lvl6pPr>
            <a:lvl7pPr>
              <a:defRPr sz="4100"/>
            </a:lvl7pPr>
            <a:lvl8pPr>
              <a:defRPr sz="4100"/>
            </a:lvl8pPr>
            <a:lvl9pPr>
              <a:defRPr sz="4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4013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849227" y="905729"/>
            <a:ext cx="10422466" cy="4902222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12701446" y="905729"/>
            <a:ext cx="10422466" cy="4902222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849227" y="6532803"/>
            <a:ext cx="10422466" cy="4902222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2701446" y="6532803"/>
            <a:ext cx="10422466" cy="4902222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1820330" y="5907597"/>
            <a:ext cx="10363200" cy="369332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752935" y="5907597"/>
            <a:ext cx="10363200" cy="369332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1820330" y="11514581"/>
            <a:ext cx="10363200" cy="369332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12752935" y="11514581"/>
            <a:ext cx="10363200" cy="369332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0322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849227" y="905727"/>
            <a:ext cx="21275385" cy="10529298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1820330" y="11836117"/>
            <a:ext cx="10363200" cy="369332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1981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49967" y="2208878"/>
            <a:ext cx="10041467" cy="4847481"/>
          </a:xfrm>
        </p:spPr>
        <p:txBody>
          <a:bodyPr/>
          <a:lstStyle>
            <a:lvl1pPr>
              <a:buFont typeface="Arial" pitchFamily="34" charset="0"/>
              <a:buNone/>
              <a:defRPr sz="4500"/>
            </a:lvl1pPr>
            <a:lvl2pPr marL="0" indent="0">
              <a:buNone/>
              <a:defRPr sz="4500"/>
            </a:lvl2pPr>
            <a:lvl3pPr marL="533971" indent="0">
              <a:buNone/>
              <a:defRPr sz="4500"/>
            </a:lvl3pPr>
            <a:lvl4pPr marL="1291632" indent="0">
              <a:buNone/>
              <a:defRPr sz="4500"/>
            </a:lvl4pPr>
            <a:lvl5pPr marL="1951881" indent="0">
              <a:buNone/>
              <a:defRPr sz="4500"/>
            </a:lvl5pPr>
            <a:lvl6pPr>
              <a:defRPr sz="4100"/>
            </a:lvl6pPr>
            <a:lvl7pPr>
              <a:defRPr sz="4100"/>
            </a:lvl7pPr>
            <a:lvl8pPr>
              <a:defRPr sz="4100"/>
            </a:lvl8pPr>
            <a:lvl9pPr>
              <a:defRPr sz="4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725407" y="2208878"/>
            <a:ext cx="10041465" cy="4847481"/>
          </a:xfrm>
        </p:spPr>
        <p:txBody>
          <a:bodyPr/>
          <a:lstStyle>
            <a:lvl1pPr>
              <a:buFont typeface="Arial" pitchFamily="34" charset="0"/>
              <a:buNone/>
              <a:defRPr sz="4500"/>
            </a:lvl1pPr>
            <a:lvl2pPr marL="0" indent="0">
              <a:buNone/>
              <a:defRPr sz="4500"/>
            </a:lvl2pPr>
            <a:lvl3pPr marL="533971" indent="0">
              <a:buNone/>
              <a:defRPr sz="4500"/>
            </a:lvl3pPr>
            <a:lvl4pPr marL="1291632" indent="0">
              <a:buNone/>
              <a:defRPr sz="4500"/>
            </a:lvl4pPr>
            <a:lvl5pPr marL="1951881" indent="0">
              <a:buNone/>
              <a:defRPr sz="4500"/>
            </a:lvl5pPr>
            <a:lvl6pPr>
              <a:defRPr sz="4100"/>
            </a:lvl6pPr>
            <a:lvl7pPr>
              <a:defRPr sz="4100"/>
            </a:lvl7pPr>
            <a:lvl8pPr>
              <a:defRPr sz="4100"/>
            </a:lvl8pPr>
            <a:lvl9pPr>
              <a:defRPr sz="4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593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Top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hape 31"/>
          <p:cNvSpPr txBox="1">
            <a:spLocks noGrp="1"/>
          </p:cNvSpPr>
          <p:nvPr>
            <p:ph type="title"/>
          </p:nvPr>
        </p:nvSpPr>
        <p:spPr>
          <a:xfrm>
            <a:off x="1689100" y="952500"/>
            <a:ext cx="21005799" cy="2286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457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9144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1143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1371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1600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1828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2" name="Shape 32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25931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60063" y="705506"/>
            <a:ext cx="21500123" cy="104644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23067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6494" y="8813801"/>
            <a:ext cx="20726400" cy="1400383"/>
          </a:xfrm>
        </p:spPr>
        <p:txBody>
          <a:bodyPr anchor="t"/>
          <a:lstStyle>
            <a:lvl1pPr algn="l">
              <a:defRPr sz="91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26494" y="8121304"/>
            <a:ext cx="20726400" cy="692497"/>
          </a:xfrm>
        </p:spPr>
        <p:txBody>
          <a:bodyPr anchor="b"/>
          <a:lstStyle>
            <a:lvl1pPr marL="0" indent="0">
              <a:buNone/>
              <a:defRPr sz="4500"/>
            </a:lvl1pPr>
            <a:lvl2pPr marL="1039078" indent="0">
              <a:buNone/>
              <a:defRPr sz="4100"/>
            </a:lvl2pPr>
            <a:lvl3pPr marL="2078157" indent="0">
              <a:buNone/>
              <a:defRPr sz="3600"/>
            </a:lvl3pPr>
            <a:lvl4pPr marL="3117235" indent="0">
              <a:buNone/>
              <a:defRPr sz="3200"/>
            </a:lvl4pPr>
            <a:lvl5pPr marL="4156314" indent="0">
              <a:buNone/>
              <a:defRPr sz="3200"/>
            </a:lvl5pPr>
            <a:lvl6pPr marL="5195392" indent="0">
              <a:buNone/>
              <a:defRPr sz="3200"/>
            </a:lvl6pPr>
            <a:lvl7pPr marL="6234471" indent="0">
              <a:buNone/>
              <a:defRPr sz="3200"/>
            </a:lvl7pPr>
            <a:lvl8pPr marL="7273549" indent="0">
              <a:buNone/>
              <a:defRPr sz="3200"/>
            </a:lvl8pPr>
            <a:lvl9pPr marL="8312628" indent="0">
              <a:buNone/>
              <a:defRPr sz="3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66119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Bullets &amp; Photo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34"/>
          <p:cNvSpPr>
            <a:spLocks noGrp="1"/>
          </p:cNvSpPr>
          <p:nvPr>
            <p:ph type="pic" idx="2"/>
          </p:nvPr>
        </p:nvSpPr>
        <p:spPr>
          <a:xfrm>
            <a:off x="13169900" y="3238500"/>
            <a:ext cx="9524999" cy="9207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635000" marR="0" lvl="0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1689100" y="952500"/>
            <a:ext cx="21005799" cy="2286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457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9144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1143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1371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1600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1828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1689100" y="3238500"/>
            <a:ext cx="10007600" cy="9207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558800" marR="0" lvl="0" indent="-344487" algn="l" rtl="0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45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117600" marR="0" lvl="1" indent="-344487" algn="l" rtl="0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45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676400" marR="0" lvl="2" indent="-344487" algn="l" rtl="0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45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235200" marR="0" lvl="3" indent="-344487" algn="l" rtl="0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45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794000" marR="0" lvl="4" indent="-344487" algn="l" rtl="0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45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39"/>
          <p:cNvSpPr txBox="1">
            <a:spLocks noGrp="1"/>
          </p:cNvSpPr>
          <p:nvPr>
            <p:ph type="body" idx="1"/>
          </p:nvPr>
        </p:nvSpPr>
        <p:spPr>
          <a:xfrm>
            <a:off x="1689100" y="1778000"/>
            <a:ext cx="21005799" cy="10147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635000" marR="0" lvl="0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hoto - 3 Up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>
            <a:spLocks noGrp="1"/>
          </p:cNvSpPr>
          <p:nvPr>
            <p:ph type="pic" idx="2"/>
          </p:nvPr>
        </p:nvSpPr>
        <p:spPr>
          <a:xfrm>
            <a:off x="15760700" y="7048500"/>
            <a:ext cx="7404099" cy="5549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635000" marR="0" lvl="0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3" name="Shape 43"/>
          <p:cNvSpPr>
            <a:spLocks noGrp="1"/>
          </p:cNvSpPr>
          <p:nvPr>
            <p:ph type="pic" idx="3"/>
          </p:nvPr>
        </p:nvSpPr>
        <p:spPr>
          <a:xfrm>
            <a:off x="15760700" y="1130300"/>
            <a:ext cx="7404099" cy="5549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635000" marR="0" lvl="0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4" name="Shape 44"/>
          <p:cNvSpPr>
            <a:spLocks noGrp="1"/>
          </p:cNvSpPr>
          <p:nvPr>
            <p:ph type="pic" idx="4"/>
          </p:nvPr>
        </p:nvSpPr>
        <p:spPr>
          <a:xfrm>
            <a:off x="1206500" y="1130300"/>
            <a:ext cx="14173200" cy="11468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635000" marR="0" lvl="0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5" name="Shape 45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 txBox="1">
            <a:spLocks noGrp="1"/>
          </p:cNvSpPr>
          <p:nvPr>
            <p:ph type="body" idx="1"/>
          </p:nvPr>
        </p:nvSpPr>
        <p:spPr>
          <a:xfrm>
            <a:off x="2387600" y="8953500"/>
            <a:ext cx="196215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3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body" idx="2"/>
          </p:nvPr>
        </p:nvSpPr>
        <p:spPr>
          <a:xfrm>
            <a:off x="2387600" y="6045200"/>
            <a:ext cx="19621500" cy="889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49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1689100" y="952500"/>
            <a:ext cx="21005799" cy="2286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457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9144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1143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1371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1600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1828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1689100" y="3238500"/>
            <a:ext cx="21005799" cy="9207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635000" marR="0" lvl="0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70000" marR="0" lvl="1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905000" marR="0" lvl="2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540000" marR="0" lvl="3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175000" marR="0" lvl="4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810000" marR="0" lvl="5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445000" marR="0" lvl="6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5080000" marR="0" lvl="7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715000" marR="0" lvl="8" indent="-387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ct val="750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7" cy="46989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Helvetica Neue"/>
              <a:buNone/>
            </a:pPr>
            <a:fld id="{00000000-1234-1234-1234-123412341234}" type="slidenum">
              <a:rPr lang="en-GB" sz="2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‹#›</a:t>
            </a:fld>
            <a:endParaRPr lang="en-GB" sz="2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78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7295" y="571500"/>
            <a:ext cx="23094462" cy="142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37377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3908" rIns="0" bIns="10390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7296" y="2508249"/>
            <a:ext cx="23047567" cy="9871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7513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500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Arial" charset="0"/>
        </a:defRPr>
      </a:lvl5pPr>
      <a:lvl6pPr marL="1039078"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Arial" charset="0"/>
        </a:defRPr>
      </a:lvl6pPr>
      <a:lvl7pPr marL="2078157"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Arial" charset="0"/>
        </a:defRPr>
      </a:lvl7pPr>
      <a:lvl8pPr marL="3117235"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Arial" charset="0"/>
        </a:defRPr>
      </a:lvl8pPr>
      <a:lvl9pPr marL="4156314" algn="l" rtl="0" eaLnBrk="1" fontAlgn="base" hangingPunct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0"/>
        </a:spcBef>
        <a:spcAft>
          <a:spcPct val="50000"/>
        </a:spcAft>
        <a:buClr>
          <a:schemeClr val="tx2"/>
        </a:buClr>
        <a:buFont typeface="Symbol" pitchFamily="18" charset="2"/>
        <a:tabLst>
          <a:tab pos="2857466" algn="l"/>
          <a:tab pos="5714931" algn="l"/>
          <a:tab pos="8572397" algn="l"/>
          <a:tab pos="10607259" algn="l"/>
          <a:tab pos="12642121" algn="l"/>
          <a:tab pos="15499587" algn="l"/>
          <a:tab pos="18357052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13345" indent="-609738" algn="l" rtl="0" eaLnBrk="1" fontAlgn="base" hangingPunct="1">
        <a:spcBef>
          <a:spcPct val="0"/>
        </a:spcBef>
        <a:spcAft>
          <a:spcPct val="50000"/>
        </a:spcAft>
        <a:buClr>
          <a:schemeClr val="accent1"/>
        </a:buClr>
        <a:buFont typeface="Symbol" pitchFamily="18" charset="2"/>
        <a:buChar char="·"/>
        <a:defRPr>
          <a:solidFill>
            <a:schemeClr val="tx1"/>
          </a:solidFill>
          <a:latin typeface="+mn-lt"/>
        </a:defRPr>
      </a:lvl2pPr>
      <a:lvl3pPr marL="1226690" indent="-609738" algn="l" rtl="0" eaLnBrk="1" fontAlgn="base" hangingPunct="1">
        <a:spcBef>
          <a:spcPct val="0"/>
        </a:spcBef>
        <a:spcAft>
          <a:spcPct val="50000"/>
        </a:spcAft>
        <a:buClr>
          <a:schemeClr val="accent1"/>
        </a:buClr>
        <a:buFont typeface="Arial" charset="0"/>
        <a:buChar char="–"/>
        <a:defRPr>
          <a:solidFill>
            <a:schemeClr val="tx1"/>
          </a:solidFill>
          <a:latin typeface="+mn-lt"/>
        </a:defRPr>
      </a:lvl3pPr>
      <a:lvl4pPr marL="1836428" indent="-606129" algn="l" rtl="0" eaLnBrk="1" fontAlgn="base" hangingPunct="1">
        <a:spcBef>
          <a:spcPct val="0"/>
        </a:spcBef>
        <a:spcAft>
          <a:spcPct val="5000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4pPr>
      <a:lvl5pPr marL="2449773" indent="-609738" algn="l" rtl="0" eaLnBrk="1" fontAlgn="base" hangingPunct="1">
        <a:spcBef>
          <a:spcPct val="0"/>
        </a:spcBef>
        <a:spcAft>
          <a:spcPct val="50000"/>
        </a:spcAft>
        <a:buClr>
          <a:schemeClr val="accent1"/>
        </a:buClr>
        <a:buFont typeface="Arial" charset="0"/>
        <a:buChar char="–"/>
        <a:defRPr>
          <a:solidFill>
            <a:schemeClr val="tx1"/>
          </a:solidFill>
          <a:latin typeface="+mn-lt"/>
        </a:defRPr>
      </a:lvl5pPr>
      <a:lvl6pPr marL="3488851" indent="-609738" algn="l" rtl="0" eaLnBrk="1" fontAlgn="base" hangingPunct="1">
        <a:spcBef>
          <a:spcPct val="0"/>
        </a:spcBef>
        <a:spcAft>
          <a:spcPct val="50000"/>
        </a:spcAft>
        <a:buClr>
          <a:srgbClr val="737377"/>
        </a:buClr>
        <a:buFont typeface="Arial" charset="0"/>
        <a:buChar char="–"/>
        <a:defRPr>
          <a:solidFill>
            <a:srgbClr val="737377"/>
          </a:solidFill>
          <a:latin typeface="+mn-lt"/>
        </a:defRPr>
      </a:lvl6pPr>
      <a:lvl7pPr marL="4527930" indent="-609738" algn="l" rtl="0" eaLnBrk="1" fontAlgn="base" hangingPunct="1">
        <a:spcBef>
          <a:spcPct val="0"/>
        </a:spcBef>
        <a:spcAft>
          <a:spcPct val="50000"/>
        </a:spcAft>
        <a:buClr>
          <a:srgbClr val="737377"/>
        </a:buClr>
        <a:buFont typeface="Arial" charset="0"/>
        <a:buChar char="–"/>
        <a:defRPr>
          <a:solidFill>
            <a:srgbClr val="737377"/>
          </a:solidFill>
          <a:latin typeface="+mn-lt"/>
        </a:defRPr>
      </a:lvl7pPr>
      <a:lvl8pPr marL="5567008" indent="-609738" algn="l" rtl="0" eaLnBrk="1" fontAlgn="base" hangingPunct="1">
        <a:spcBef>
          <a:spcPct val="0"/>
        </a:spcBef>
        <a:spcAft>
          <a:spcPct val="50000"/>
        </a:spcAft>
        <a:buClr>
          <a:srgbClr val="737377"/>
        </a:buClr>
        <a:buFont typeface="Arial" charset="0"/>
        <a:buChar char="–"/>
        <a:defRPr>
          <a:solidFill>
            <a:srgbClr val="737377"/>
          </a:solidFill>
          <a:latin typeface="+mn-lt"/>
        </a:defRPr>
      </a:lvl8pPr>
      <a:lvl9pPr marL="6606087" indent="-609738" algn="l" rtl="0" eaLnBrk="1" fontAlgn="base" hangingPunct="1">
        <a:spcBef>
          <a:spcPct val="0"/>
        </a:spcBef>
        <a:spcAft>
          <a:spcPct val="50000"/>
        </a:spcAft>
        <a:buClr>
          <a:srgbClr val="737377"/>
        </a:buClr>
        <a:buFont typeface="Arial" charset="0"/>
        <a:buChar char="–"/>
        <a:defRPr>
          <a:solidFill>
            <a:srgbClr val="737377"/>
          </a:solidFill>
          <a:latin typeface="+mn-lt"/>
        </a:defRPr>
      </a:lvl9pPr>
    </p:bodyStyle>
    <p:otherStyle>
      <a:defPPr>
        <a:defRPr lang="en-US"/>
      </a:defPPr>
      <a:lvl1pPr marL="0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1pPr>
      <a:lvl2pPr marL="1039078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2078157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3pPr>
      <a:lvl4pPr marL="3117235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4pPr>
      <a:lvl5pPr marL="4156314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5pPr>
      <a:lvl6pPr marL="5195392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6pPr>
      <a:lvl7pPr marL="6234471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7pPr>
      <a:lvl8pPr marL="7273549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8pPr>
      <a:lvl9pPr marL="8312628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689100" y="9525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1689100" y="3238500"/>
            <a:ext cx="21005800" cy="9207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99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/>
            </a:lvl1pPr>
          </a:lstStyle>
          <a:p>
            <a:pPr algn="ctr" defTabSz="825500" hangingPunct="0"/>
            <a:fld id="{86CB4B4D-7CA3-9044-876B-883B54F8677D}" type="slidenum">
              <a:rPr>
                <a:latin typeface="Helvetica Light"/>
                <a:sym typeface="Helvetica Light"/>
              </a:rPr>
              <a:pPr algn="ctr" defTabSz="825500" hangingPunct="0"/>
              <a:t>‹#›</a:t>
            </a:fld>
            <a:endParaRPr>
              <a:latin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339235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</p:sldLayoutIdLst>
  <p:transition spd="med"/>
  <p:hf sldNum="0" hdr="0" dt="0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63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127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90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254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317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381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444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508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571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27943812"/>
              </p:ext>
            </p:extLst>
          </p:nvPr>
        </p:nvGraphicFramePr>
        <p:xfrm>
          <a:off x="3910" y="3177"/>
          <a:ext cx="390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3910" y="3177"/>
                        <a:ext cx="390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7" descr="Bar_06_COL_POS [Converted]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56587" y="12820651"/>
            <a:ext cx="3196492" cy="441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60063" y="705506"/>
            <a:ext cx="21500123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79603" y="2190750"/>
            <a:ext cx="21343815" cy="4847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9" name="Line 32"/>
          <p:cNvSpPr>
            <a:spLocks noChangeShapeType="1"/>
          </p:cNvSpPr>
          <p:nvPr/>
        </p:nvSpPr>
        <p:spPr bwMode="auto">
          <a:xfrm>
            <a:off x="1809264" y="12449176"/>
            <a:ext cx="2134381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4500" kern="1200">
              <a:latin typeface="Expert Sans Regular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181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68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68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68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68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6800">
          <a:solidFill>
            <a:schemeClr val="bg2"/>
          </a:solidFill>
          <a:latin typeface="Expert Sans Regular" pitchFamily="34" charset="0"/>
        </a:defRPr>
      </a:lvl5pPr>
      <a:lvl6pPr marL="1039078" algn="l" rtl="0" eaLnBrk="1" fontAlgn="base" hangingPunct="1">
        <a:spcBef>
          <a:spcPct val="0"/>
        </a:spcBef>
        <a:spcAft>
          <a:spcPct val="0"/>
        </a:spcAft>
        <a:defRPr sz="8200">
          <a:solidFill>
            <a:schemeClr val="tx2"/>
          </a:solidFill>
          <a:latin typeface="Arial" pitchFamily="34" charset="0"/>
        </a:defRPr>
      </a:lvl6pPr>
      <a:lvl7pPr marL="2078157" algn="l" rtl="0" eaLnBrk="1" fontAlgn="base" hangingPunct="1">
        <a:spcBef>
          <a:spcPct val="0"/>
        </a:spcBef>
        <a:spcAft>
          <a:spcPct val="0"/>
        </a:spcAft>
        <a:defRPr sz="8200">
          <a:solidFill>
            <a:schemeClr val="tx2"/>
          </a:solidFill>
          <a:latin typeface="Arial" pitchFamily="34" charset="0"/>
        </a:defRPr>
      </a:lvl7pPr>
      <a:lvl8pPr marL="3117235" algn="l" rtl="0" eaLnBrk="1" fontAlgn="base" hangingPunct="1">
        <a:spcBef>
          <a:spcPct val="0"/>
        </a:spcBef>
        <a:spcAft>
          <a:spcPct val="0"/>
        </a:spcAft>
        <a:defRPr sz="8200">
          <a:solidFill>
            <a:schemeClr val="tx2"/>
          </a:solidFill>
          <a:latin typeface="Arial" pitchFamily="34" charset="0"/>
        </a:defRPr>
      </a:lvl8pPr>
      <a:lvl9pPr marL="4156314" algn="l" rtl="0" eaLnBrk="1" fontAlgn="base" hangingPunct="1">
        <a:spcBef>
          <a:spcPct val="0"/>
        </a:spcBef>
        <a:spcAft>
          <a:spcPct val="0"/>
        </a:spcAft>
        <a:defRPr sz="8200">
          <a:solidFill>
            <a:schemeClr val="tx2"/>
          </a:solidFill>
          <a:latin typeface="Arial" pitchFamily="34" charset="0"/>
        </a:defRPr>
      </a:lvl9pPr>
    </p:titleStyle>
    <p:bodyStyle>
      <a:lvl1pPr marL="779309" indent="-779309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4500">
          <a:solidFill>
            <a:schemeClr val="tx1"/>
          </a:solidFill>
          <a:latin typeface="+mn-lt"/>
          <a:ea typeface="+mn-ea"/>
          <a:cs typeface="+mn-cs"/>
        </a:defRPr>
      </a:lvl1pPr>
      <a:lvl2pPr marL="526755" indent="-52675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4500">
          <a:solidFill>
            <a:schemeClr val="tx1"/>
          </a:solidFill>
          <a:latin typeface="+mn-lt"/>
        </a:defRPr>
      </a:lvl2pPr>
      <a:lvl3pPr marL="1291632" indent="-757661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4500">
          <a:solidFill>
            <a:schemeClr val="tx1"/>
          </a:solidFill>
          <a:latin typeface="+mn-lt"/>
        </a:defRPr>
      </a:lvl3pPr>
      <a:lvl4pPr marL="1951881" indent="-660249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4500">
          <a:solidFill>
            <a:schemeClr val="tx1"/>
          </a:solidFill>
          <a:latin typeface="+mn-lt"/>
        </a:defRPr>
      </a:lvl4pPr>
      <a:lvl5pPr marL="2738406" indent="-78652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4500">
          <a:solidFill>
            <a:schemeClr val="tx1"/>
          </a:solidFill>
          <a:latin typeface="+mn-lt"/>
        </a:defRPr>
      </a:lvl5pPr>
      <a:lvl6pPr marL="5592262" indent="-396870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2700">
          <a:solidFill>
            <a:schemeClr val="tx1"/>
          </a:solidFill>
          <a:latin typeface="+mn-lt"/>
        </a:defRPr>
      </a:lvl6pPr>
      <a:lvl7pPr marL="6631341" indent="-396870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2700">
          <a:solidFill>
            <a:schemeClr val="tx1"/>
          </a:solidFill>
          <a:latin typeface="+mn-lt"/>
        </a:defRPr>
      </a:lvl7pPr>
      <a:lvl8pPr marL="7670419" indent="-396870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2700">
          <a:solidFill>
            <a:schemeClr val="tx1"/>
          </a:solidFill>
          <a:latin typeface="+mn-lt"/>
        </a:defRPr>
      </a:lvl8pPr>
      <a:lvl9pPr marL="8709498" indent="-396870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2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1pPr>
      <a:lvl2pPr marL="1039078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2078157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3pPr>
      <a:lvl4pPr marL="3117235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4pPr>
      <a:lvl5pPr marL="4156314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5pPr>
      <a:lvl6pPr marL="5195392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6pPr>
      <a:lvl7pPr marL="6234471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7pPr>
      <a:lvl8pPr marL="7273549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8pPr>
      <a:lvl9pPr marL="8312628" algn="l" defTabSz="2078157" rtl="0" eaLnBrk="1" latinLnBrk="0" hangingPunct="1">
        <a:defRPr sz="4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3.jpe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5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3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8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lobalgoals.org/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6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image" Target="../media/image60.png"/><Relationship Id="rId3" Type="http://schemas.openxmlformats.org/officeDocument/2006/relationships/slideLayout" Target="../slideLayouts/slideLayout41.xml"/><Relationship Id="rId7" Type="http://schemas.openxmlformats.org/officeDocument/2006/relationships/diagramData" Target="../diagrams/data2.xml"/><Relationship Id="rId12" Type="http://schemas.openxmlformats.org/officeDocument/2006/relationships/image" Target="../media/image59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8.png"/><Relationship Id="rId11" Type="http://schemas.microsoft.com/office/2007/relationships/diagramDrawing" Target="../diagrams/drawing2.xml"/><Relationship Id="rId5" Type="http://schemas.openxmlformats.org/officeDocument/2006/relationships/image" Target="../media/image57.emf"/><Relationship Id="rId10" Type="http://schemas.openxmlformats.org/officeDocument/2006/relationships/diagramColors" Target="../diagrams/colors2.xml"/><Relationship Id="rId4" Type="http://schemas.openxmlformats.org/officeDocument/2006/relationships/oleObject" Target="../embeddings/oleObject2.bin"/><Relationship Id="rId9" Type="http://schemas.openxmlformats.org/officeDocument/2006/relationships/diagramQuickStyle" Target="../diagrams/quickStyle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8.png"/><Relationship Id="rId5" Type="http://schemas.openxmlformats.org/officeDocument/2006/relationships/image" Target="../media/image57.emf"/><Relationship Id="rId4" Type="http://schemas.openxmlformats.org/officeDocument/2006/relationships/oleObject" Target="../embeddings/oleObject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8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4.jpe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" name="Shape 14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9686" y="329486"/>
            <a:ext cx="23684000" cy="130900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4" name="Shape 14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343128" y="7506071"/>
            <a:ext cx="4248473" cy="4248473"/>
          </a:xfrm>
          <a:prstGeom prst="rect">
            <a:avLst/>
          </a:prstGeom>
          <a:noFill/>
          <a:ln>
            <a:noFill/>
          </a:ln>
        </p:spPr>
      </p:pic>
      <p:sp>
        <p:nvSpPr>
          <p:cNvPr id="145" name="Shape 145"/>
          <p:cNvSpPr/>
          <p:nvPr/>
        </p:nvSpPr>
        <p:spPr>
          <a:xfrm>
            <a:off x="1544565" y="849496"/>
            <a:ext cx="21294869" cy="7150674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5400" b="0" i="0" u="none" strike="noStrike" cap="none" dirty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WELCOME TO THE CIRCLE OF YOUNG INTRAPRENEURS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Arial"/>
              <a:buNone/>
            </a:pPr>
            <a:endParaRPr sz="5400" b="0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5400" b="0" i="0" u="none" strike="noStrike" cap="none" dirty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TIM </a:t>
            </a:r>
            <a:r>
              <a:rPr lang="en-GB" sz="5400" b="0" i="0" u="none" strike="noStrike" cap="none" dirty="0" smtClean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HEARD &amp; DAVID SPEARS</a:t>
            </a:r>
            <a:endParaRPr lang="en-GB" sz="5400" b="0" i="0" u="none" strike="noStrike" cap="none" dirty="0">
              <a:solidFill>
                <a:srgbClr val="FF7E7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5400" b="0" i="0" u="none" strike="noStrike" cap="none" dirty="0" smtClean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CO-FOUNDERS</a:t>
            </a:r>
            <a:endParaRPr lang="en-GB" sz="5400" b="0" i="0" u="none" strike="noStrike" cap="none" dirty="0">
              <a:solidFill>
                <a:srgbClr val="FF7E7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Arial"/>
              <a:buNone/>
            </a:pPr>
            <a:endParaRPr sz="5400" b="0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5400" b="0" i="0" u="none" strike="noStrike" cap="none" dirty="0" err="1" smtClean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iLead</a:t>
            </a:r>
            <a:r>
              <a:rPr lang="en-GB" sz="5400" b="0" i="0" u="none" strike="noStrike" cap="none" dirty="0" smtClean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 - Inspire</a:t>
            </a:r>
            <a:endParaRPr lang="en-GB" sz="5400" b="0" i="0" u="none" strike="noStrike" cap="none" dirty="0">
              <a:solidFill>
                <a:srgbClr val="FF7E7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5000" b="0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6" name="Shape 146"/>
          <p:cNvSpPr txBox="1"/>
          <p:nvPr/>
        </p:nvSpPr>
        <p:spPr>
          <a:xfrm>
            <a:off x="127000" y="13446820"/>
            <a:ext cx="24129999" cy="256480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 Internal Only</a:t>
            </a:r>
          </a:p>
        </p:txBody>
      </p:sp>
      <p:sp>
        <p:nvSpPr>
          <p:cNvPr id="148" name="Shape 148"/>
          <p:cNvSpPr txBox="1"/>
          <p:nvPr/>
        </p:nvSpPr>
        <p:spPr>
          <a:xfrm>
            <a:off x="8947350" y="8910521"/>
            <a:ext cx="6048671" cy="1456809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25000"/>
              <a:buFont typeface="Helvetica Neue"/>
              <a:buNone/>
            </a:pPr>
            <a:r>
              <a:rPr lang="en-GB" sz="88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X</a:t>
            </a:r>
          </a:p>
        </p:txBody>
      </p:sp>
      <p:sp>
        <p:nvSpPr>
          <p:cNvPr id="149" name="Shape 149"/>
          <p:cNvSpPr txBox="1"/>
          <p:nvPr/>
        </p:nvSpPr>
        <p:spPr>
          <a:xfrm>
            <a:off x="6931127" y="11682690"/>
            <a:ext cx="10081119" cy="1426031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36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#DOWELLDOGOOD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</a:pPr>
            <a:endParaRPr sz="5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84288" y="7993820"/>
            <a:ext cx="6634708" cy="3184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 descr="Image result for megapho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58445"/>
            <a:ext cx="24384000" cy="16256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1478953" y="1566398"/>
            <a:ext cx="21404910" cy="2215991"/>
          </a:xfrm>
          <a:prstGeom prst="rect">
            <a:avLst/>
          </a:prstGeom>
        </p:spPr>
        <p:txBody>
          <a:bodyPr wrap="square" lIns="182880" tIns="91440" rIns="182880" bIns="91440">
            <a:spAutoFit/>
          </a:bodyPr>
          <a:lstStyle/>
          <a:p>
            <a:pPr algn="ctr"/>
            <a:r>
              <a:rPr lang="en-US" sz="6600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Why are we having so much trouble solving these problems?</a:t>
            </a:r>
          </a:p>
        </p:txBody>
      </p:sp>
    </p:spTree>
    <p:extLst>
      <p:ext uri="{BB962C8B-B14F-4D97-AF65-F5344CB8AC3E}">
        <p14:creationId xmlns:p14="http://schemas.microsoft.com/office/powerpoint/2010/main" val="4091498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398" y="5532439"/>
            <a:ext cx="21031200" cy="2651126"/>
          </a:xfrm>
        </p:spPr>
        <p:txBody>
          <a:bodyPr>
            <a:noAutofit/>
          </a:bodyPr>
          <a:lstStyle/>
          <a:p>
            <a:pPr algn="ctr"/>
            <a:r>
              <a:rPr lang="en-US" sz="13200" dirty="0">
                <a:latin typeface="Century Gothic" panose="020B0502020202020204" pitchFamily="34" charset="0"/>
              </a:rPr>
              <a:t>What is the role of business?</a:t>
            </a:r>
          </a:p>
        </p:txBody>
      </p:sp>
    </p:spTree>
    <p:extLst>
      <p:ext uri="{BB962C8B-B14F-4D97-AF65-F5344CB8AC3E}">
        <p14:creationId xmlns:p14="http://schemas.microsoft.com/office/powerpoint/2010/main" val="401315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791" y="478835"/>
            <a:ext cx="24125382" cy="2651126"/>
          </a:xfrm>
        </p:spPr>
        <p:txBody>
          <a:bodyPr>
            <a:noAutofit/>
          </a:bodyPr>
          <a:lstStyle/>
          <a:p>
            <a:r>
              <a:rPr lang="en-US" sz="10800" dirty="0">
                <a:latin typeface="Century Gothic" panose="020B0502020202020204" pitchFamily="34" charset="0"/>
              </a:rPr>
              <a:t>Business is seen as the problem…</a:t>
            </a:r>
          </a:p>
        </p:txBody>
      </p:sp>
      <p:pic>
        <p:nvPicPr>
          <p:cNvPr id="1028" name="Picture 4" descr="Image result for Coal industr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110" y="8100305"/>
            <a:ext cx="6769296" cy="485212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logging industry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4407" y="8100303"/>
            <a:ext cx="7273694" cy="48491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Car polluti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8103" y="8100302"/>
            <a:ext cx="7411258" cy="485025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385110" y="9547806"/>
            <a:ext cx="21031200" cy="970972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14400" b="1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  <a:latin typeface="Century Gothic" panose="020B0502020202020204" pitchFamily="34" charset="0"/>
              </a:rPr>
              <a:t>BAD ACTORS</a:t>
            </a:r>
          </a:p>
        </p:txBody>
      </p:sp>
      <p:pic>
        <p:nvPicPr>
          <p:cNvPr id="1034" name="Picture 10" descr="Image result for gender inequality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8058" y="2945528"/>
            <a:ext cx="4621068" cy="4621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mage result for Cost of hamburger vs salad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9820" y="3720229"/>
            <a:ext cx="7296500" cy="350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9939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027" y="17145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3101" y="654053"/>
            <a:ext cx="22231350" cy="2651126"/>
          </a:xfrm>
        </p:spPr>
        <p:txBody>
          <a:bodyPr>
            <a:normAutofit/>
          </a:bodyPr>
          <a:lstStyle/>
          <a:p>
            <a:r>
              <a:rPr lang="en-US" sz="12000" dirty="0">
                <a:latin typeface="Century Gothic" panose="020B0502020202020204" pitchFamily="34" charset="0"/>
              </a:rPr>
              <a:t>Where are the solution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95399" y="10634671"/>
            <a:ext cx="22231350" cy="265112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US" dirty="0">
              <a:latin typeface="Century Gothic" panose="020B0502020202020204" pitchFamily="34" charset="0"/>
            </a:endParaRPr>
          </a:p>
          <a:p>
            <a:pPr marL="0" indent="0" algn="ctr">
              <a:buNone/>
            </a:pPr>
            <a:r>
              <a:rPr lang="en-US" dirty="0">
                <a:latin typeface="Century Gothic" panose="020B0502020202020204" pitchFamily="34" charset="0"/>
              </a:rPr>
              <a:t>R</a:t>
            </a:r>
            <a:r>
              <a:rPr lang="en-US" dirty="0" smtClean="0">
                <a:latin typeface="Century Gothic" panose="020B0502020202020204" pitchFamily="34" charset="0"/>
              </a:rPr>
              <a:t>eality is </a:t>
            </a:r>
            <a:r>
              <a:rPr lang="en-US" dirty="0">
                <a:latin typeface="Century Gothic" panose="020B0502020202020204" pitchFamily="34" charset="0"/>
              </a:rPr>
              <a:t>w</a:t>
            </a:r>
            <a:r>
              <a:rPr lang="en-US" dirty="0" smtClean="0">
                <a:latin typeface="Century Gothic" panose="020B0502020202020204" pitchFamily="34" charset="0"/>
              </a:rPr>
              <a:t>e’re not making fast enough progress</a:t>
            </a:r>
            <a:endParaRPr lang="en-US" dirty="0">
              <a:latin typeface="Century Gothic" panose="020B0502020202020204" pitchFamily="34" charset="0"/>
            </a:endParaRPr>
          </a:p>
        </p:txBody>
      </p:sp>
      <p:pic>
        <p:nvPicPr>
          <p:cNvPr id="7170" name="Picture 2" descr="Image result for NGOs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6357" y="4164826"/>
            <a:ext cx="9365178" cy="6192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Image result for Governmen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282" y="2946403"/>
            <a:ext cx="7757636" cy="492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Image result for philanthropy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83180" y="5159379"/>
            <a:ext cx="6282532" cy="608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3152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309" y="635985"/>
            <a:ext cx="23133378" cy="2651126"/>
          </a:xfrm>
        </p:spPr>
        <p:txBody>
          <a:bodyPr>
            <a:noAutofit/>
          </a:bodyPr>
          <a:lstStyle/>
          <a:p>
            <a:r>
              <a:rPr lang="en-US" sz="10800" dirty="0">
                <a:latin typeface="Century Gothic" panose="020B0502020202020204" pitchFamily="34" charset="0"/>
              </a:rPr>
              <a:t>The fundamental problem is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76400" y="4222750"/>
            <a:ext cx="21031200" cy="2882900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47800" dirty="0">
                <a:solidFill>
                  <a:srgbClr val="FF0000"/>
                </a:solidFill>
                <a:latin typeface="Century Gothic" panose="020B0502020202020204" pitchFamily="34" charset="0"/>
              </a:rPr>
              <a:t>SCALE</a:t>
            </a:r>
          </a:p>
        </p:txBody>
      </p:sp>
    </p:spTree>
    <p:extLst>
      <p:ext uri="{BB962C8B-B14F-4D97-AF65-F5344CB8AC3E}">
        <p14:creationId xmlns:p14="http://schemas.microsoft.com/office/powerpoint/2010/main" val="4284362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3050" y="4083053"/>
            <a:ext cx="21031200" cy="2651126"/>
          </a:xfrm>
        </p:spPr>
        <p:txBody>
          <a:bodyPr>
            <a:noAutofit/>
          </a:bodyPr>
          <a:lstStyle/>
          <a:p>
            <a:pPr algn="ctr"/>
            <a:r>
              <a:rPr lang="en-US" sz="27600" dirty="0">
                <a:solidFill>
                  <a:srgbClr val="FF0000"/>
                </a:solidFill>
                <a:latin typeface="Century Gothic" panose="020B0502020202020204" pitchFamily="34" charset="0"/>
              </a:rPr>
              <a:t>RESOUR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19400" y="8318503"/>
            <a:ext cx="21031200" cy="3206750"/>
          </a:xfrm>
        </p:spPr>
        <p:txBody>
          <a:bodyPr>
            <a:normAutofit fontScale="77500" lnSpcReduction="20000"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 smtClean="0">
                <a:latin typeface="Century Gothic" panose="020B0502020202020204" pitchFamily="34" charset="0"/>
              </a:rPr>
              <a:t> Not enough money to deal with problems at scal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>
                <a:latin typeface="Century Gothic" panose="020B0502020202020204" pitchFamily="34" charset="0"/>
              </a:rPr>
              <a:t> Not enough tax money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>
                <a:latin typeface="Century Gothic" panose="020B0502020202020204" pitchFamily="34" charset="0"/>
              </a:rPr>
              <a:t> Not enough philanthropic donations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319916" y="730253"/>
            <a:ext cx="21818380" cy="2651126"/>
          </a:xfrm>
          <a:prstGeom prst="rect">
            <a:avLst/>
          </a:prstGeom>
        </p:spPr>
        <p:txBody>
          <a:bodyPr vert="horz" lIns="182880" tIns="91440" rIns="182880" bIns="9144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The fundamental problem of SCALE is…</a:t>
            </a:r>
            <a:endParaRPr lang="en-US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8853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Image result for Busines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6105" y="3"/>
            <a:ext cx="25020105" cy="13715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720" y="665312"/>
            <a:ext cx="12063214" cy="2651126"/>
          </a:xfrm>
        </p:spPr>
        <p:txBody>
          <a:bodyPr>
            <a:normAutofit fontScale="90000"/>
          </a:bodyPr>
          <a:lstStyle/>
          <a:p>
            <a:r>
              <a:rPr lang="en-US" sz="10800" dirty="0">
                <a:latin typeface="Century Gothic" panose="020B0502020202020204" pitchFamily="34" charset="0"/>
              </a:rPr>
              <a:t>Where are the resource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452" y="4558506"/>
            <a:ext cx="8831236" cy="8702676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sz="8800" dirty="0">
                <a:latin typeface="Century Gothic" panose="020B0502020202020204" pitchFamily="34" charset="0"/>
              </a:rPr>
              <a:t>Business creates </a:t>
            </a:r>
            <a:r>
              <a:rPr lang="en-US" sz="88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WEALTH</a:t>
            </a:r>
            <a:r>
              <a:rPr lang="en-US" sz="8800" dirty="0">
                <a:latin typeface="Century Gothic" panose="020B0502020202020204" pitchFamily="34" charset="0"/>
              </a:rPr>
              <a:t> when it </a:t>
            </a:r>
            <a:r>
              <a:rPr lang="en-US" sz="88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MEETS NEEDS </a:t>
            </a:r>
            <a:r>
              <a:rPr lang="en-US" sz="8800" dirty="0">
                <a:latin typeface="Century Gothic" panose="020B0502020202020204" pitchFamily="34" charset="0"/>
              </a:rPr>
              <a:t>at a </a:t>
            </a:r>
            <a:r>
              <a:rPr lang="en-US" sz="88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PROFIT</a:t>
            </a:r>
          </a:p>
          <a:p>
            <a:pPr lvl="1"/>
            <a:endParaRPr lang="en-US" sz="88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8000" dirty="0">
                <a:latin typeface="Century Gothic" panose="020B0502020202020204" pitchFamily="34" charset="0"/>
              </a:rPr>
              <a:t> Taxe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8000" dirty="0">
                <a:latin typeface="Century Gothic" panose="020B0502020202020204" pitchFamily="34" charset="0"/>
              </a:rPr>
              <a:t> Income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8000" dirty="0">
                <a:latin typeface="Century Gothic" panose="020B0502020202020204" pitchFamily="34" charset="0"/>
              </a:rPr>
              <a:t> Charitable donations</a:t>
            </a:r>
          </a:p>
        </p:txBody>
      </p:sp>
    </p:spTree>
    <p:extLst>
      <p:ext uri="{BB962C8B-B14F-4D97-AF65-F5344CB8AC3E}">
        <p14:creationId xmlns:p14="http://schemas.microsoft.com/office/powerpoint/2010/main" val="2677003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0800" dirty="0">
                <a:latin typeface="Century Gothic" panose="020B0502020202020204" pitchFamily="34" charset="0"/>
              </a:rPr>
              <a:t>Where are the resources?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676400" y="5870938"/>
            <a:ext cx="16869064" cy="3631764"/>
          </a:xfrm>
          <a:prstGeom prst="rect">
            <a:avLst/>
          </a:prstGeom>
          <a:noFill/>
        </p:spPr>
        <p:txBody>
          <a:bodyPr wrap="square" lIns="182880" tIns="91440" rIns="182880" bIns="91440" rtlCol="0">
            <a:spAutoFit/>
          </a:bodyPr>
          <a:lstStyle/>
          <a:p>
            <a:r>
              <a:rPr lang="en-US" sz="5600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Non-profits - $1.2 Trillion</a:t>
            </a:r>
          </a:p>
          <a:p>
            <a:r>
              <a:rPr lang="en-US" sz="5600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Government - $3.1 Trillion</a:t>
            </a:r>
          </a:p>
          <a:p>
            <a:r>
              <a:rPr lang="en-US" sz="5600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Corporations - $20.1 Trillion</a:t>
            </a:r>
          </a:p>
          <a:p>
            <a:endParaRPr lang="en-US" sz="5600" kern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86162041"/>
              </p:ext>
            </p:extLst>
          </p:nvPr>
        </p:nvGraphicFramePr>
        <p:xfrm>
          <a:off x="9551413" y="4475727"/>
          <a:ext cx="12745042" cy="8209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642262" y="3745252"/>
            <a:ext cx="4223208" cy="738664"/>
          </a:xfrm>
          <a:prstGeom prst="rect">
            <a:avLst/>
          </a:prstGeom>
          <a:noFill/>
        </p:spPr>
        <p:txBody>
          <a:bodyPr wrap="square" lIns="182880" tIns="91440" rIns="182880" bIns="91440" rtlCol="0">
            <a:spAutoFit/>
          </a:bodyPr>
          <a:lstStyle/>
          <a:p>
            <a:r>
              <a:rPr lang="en-US" sz="36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Non-Profit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9044644" y="5116601"/>
            <a:ext cx="4223208" cy="923330"/>
          </a:xfrm>
          <a:prstGeom prst="rect">
            <a:avLst/>
          </a:prstGeom>
          <a:noFill/>
        </p:spPr>
        <p:txBody>
          <a:bodyPr wrap="square" lIns="182880" tIns="91440" rIns="182880" bIns="91440" rtlCol="0">
            <a:spAutoFit/>
          </a:bodyPr>
          <a:lstStyle/>
          <a:p>
            <a:r>
              <a:rPr lang="en-US" sz="48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Govern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63475" y="9566913"/>
            <a:ext cx="6479354" cy="1292662"/>
          </a:xfrm>
          <a:prstGeom prst="rect">
            <a:avLst/>
          </a:prstGeom>
          <a:noFill/>
        </p:spPr>
        <p:txBody>
          <a:bodyPr wrap="square" lIns="182880" tIns="91440" rIns="182880" bIns="91440" rtlCol="0">
            <a:spAutoFit/>
          </a:bodyPr>
          <a:lstStyle/>
          <a:p>
            <a:r>
              <a:rPr lang="en-US" sz="72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Corporations</a:t>
            </a:r>
          </a:p>
        </p:txBody>
      </p:sp>
      <p:sp>
        <p:nvSpPr>
          <p:cNvPr id="8" name="Rectangle 7"/>
          <p:cNvSpPr/>
          <p:nvPr/>
        </p:nvSpPr>
        <p:spPr>
          <a:xfrm>
            <a:off x="1676403" y="2700850"/>
            <a:ext cx="12307454" cy="2154436"/>
          </a:xfrm>
          <a:prstGeom prst="rect">
            <a:avLst/>
          </a:prstGeom>
        </p:spPr>
        <p:txBody>
          <a:bodyPr wrap="square" lIns="182880" tIns="91440" rIns="182880" bIns="91440">
            <a:spAutoFit/>
          </a:bodyPr>
          <a:lstStyle/>
          <a:p>
            <a:r>
              <a:rPr lang="en-US" sz="64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Total revenue by stakeholder, United States</a:t>
            </a:r>
          </a:p>
        </p:txBody>
      </p:sp>
    </p:spTree>
    <p:extLst>
      <p:ext uri="{BB962C8B-B14F-4D97-AF65-F5344CB8AC3E}">
        <p14:creationId xmlns:p14="http://schemas.microsoft.com/office/powerpoint/2010/main" val="2065488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entury Gothic" panose="020B0502020202020204" pitchFamily="34" charset="0"/>
              </a:rPr>
              <a:t>Profit is the…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76400" y="7315203"/>
            <a:ext cx="8975888" cy="5038726"/>
          </a:xfrm>
        </p:spPr>
        <p:txBody>
          <a:bodyPr/>
          <a:lstStyle/>
          <a:p>
            <a:r>
              <a:rPr lang="en-US" dirty="0" smtClean="0">
                <a:latin typeface="Century Gothic" panose="020B0502020202020204" pitchFamily="34" charset="0"/>
              </a:rPr>
              <a:t>Profit allows solutions to be infinitely scalable</a:t>
            </a:r>
          </a:p>
          <a:p>
            <a:r>
              <a:rPr lang="en-US" dirty="0" smtClean="0">
                <a:latin typeface="Century Gothic" panose="020B0502020202020204" pitchFamily="34" charset="0"/>
              </a:rPr>
              <a:t>Solution becomes self sustaining 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198" y="3634051"/>
            <a:ext cx="21031200" cy="265112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7600" dirty="0">
                <a:solidFill>
                  <a:srgbClr val="FF0000"/>
                </a:solidFill>
                <a:latin typeface="Century Gothic" panose="020B0502020202020204" pitchFamily="34" charset="0"/>
              </a:rPr>
              <a:t>MAGIC</a:t>
            </a:r>
          </a:p>
        </p:txBody>
      </p:sp>
      <p:pic>
        <p:nvPicPr>
          <p:cNvPr id="6146" name="Picture 2" descr="Image result for profit growth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651" y="2671640"/>
            <a:ext cx="17859550" cy="10047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562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Image result for Smoke Stack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61924"/>
            <a:ext cx="24384000" cy="162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0800" dirty="0">
                <a:solidFill>
                  <a:schemeClr val="bg1"/>
                </a:solidFill>
                <a:latin typeface="Century Gothic" panose="020B0502020202020204" pitchFamily="34" charset="0"/>
              </a:rPr>
              <a:t>Conventional Wisdom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24150" y="6569076"/>
            <a:ext cx="21031200" cy="1397000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8000" dirty="0">
                <a:solidFill>
                  <a:schemeClr val="bg1"/>
                </a:solidFill>
                <a:latin typeface="Century Gothic" panose="020B0502020202020204" pitchFamily="34" charset="0"/>
              </a:rPr>
              <a:t>Business profits from </a:t>
            </a:r>
            <a:r>
              <a:rPr lang="en-US" sz="8000" b="1" u="sng" dirty="0">
                <a:solidFill>
                  <a:schemeClr val="bg1"/>
                </a:solidFill>
                <a:latin typeface="Century Gothic" panose="020B0502020202020204" pitchFamily="34" charset="0"/>
              </a:rPr>
              <a:t>CAUSING</a:t>
            </a:r>
            <a:r>
              <a:rPr lang="en-US" sz="8000" dirty="0">
                <a:solidFill>
                  <a:schemeClr val="bg1"/>
                </a:solidFill>
                <a:latin typeface="Century Gothic" panose="020B0502020202020204" pitchFamily="34" charset="0"/>
              </a:rPr>
              <a:t> social problems</a:t>
            </a:r>
          </a:p>
          <a:p>
            <a:endParaRPr lang="en-US" sz="8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4384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9" name="Shape 1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0000" y="312956"/>
            <a:ext cx="23684000" cy="13090088"/>
          </a:xfrm>
          <a:prstGeom prst="rect">
            <a:avLst/>
          </a:prstGeom>
          <a:noFill/>
          <a:ln>
            <a:noFill/>
          </a:ln>
        </p:spPr>
      </p:pic>
      <p:sp>
        <p:nvSpPr>
          <p:cNvPr id="160" name="Shape 160"/>
          <p:cNvSpPr/>
          <p:nvPr/>
        </p:nvSpPr>
        <p:spPr>
          <a:xfrm>
            <a:off x="1678832" y="1761982"/>
            <a:ext cx="21294869" cy="9643665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r>
              <a:rPr lang="en-GB" sz="7200" b="0" i="0" u="none" strike="noStrike" cap="none" dirty="0" smtClean="0">
                <a:solidFill>
                  <a:srgbClr val="FF7E79"/>
                </a:solidFill>
                <a:sym typeface="Arial"/>
              </a:rPr>
              <a:t>THE THEORY</a:t>
            </a: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endParaRPr lang="en-GB" sz="7200" dirty="0">
              <a:solidFill>
                <a:srgbClr val="FF7E79"/>
              </a:solidFill>
            </a:endParaRP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r>
              <a:rPr lang="en-GB" sz="7200" b="0" i="0" u="none" strike="noStrike" cap="none" dirty="0" smtClean="0">
                <a:solidFill>
                  <a:srgbClr val="FF7E79"/>
                </a:solidFill>
                <a:sym typeface="Arial"/>
              </a:rPr>
              <a:t>THE TALE</a:t>
            </a: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endParaRPr lang="en-GB" sz="7200" dirty="0">
              <a:solidFill>
                <a:srgbClr val="FF7E79"/>
              </a:solidFill>
            </a:endParaRP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r>
              <a:rPr lang="en-GB" sz="7200" b="0" i="0" u="none" strike="noStrike" cap="none" dirty="0" smtClean="0">
                <a:solidFill>
                  <a:srgbClr val="FF7E79"/>
                </a:solidFill>
                <a:sym typeface="Arial"/>
              </a:rPr>
              <a:t>THE TAKEAWAYS</a:t>
            </a:r>
            <a:endParaRPr lang="en-GB" sz="7200" b="0" i="0" u="none" strike="noStrike" cap="none" dirty="0">
              <a:solidFill>
                <a:srgbClr val="FF7E79"/>
              </a:solidFill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6600" b="0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entury Gothic" panose="020B0502020202020204" pitchFamily="34" charset="0"/>
              </a:rPr>
              <a:t>The Reality is Opposite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89100" y="2897560"/>
            <a:ext cx="21005799" cy="9207499"/>
          </a:xfrm>
        </p:spPr>
        <p:txBody>
          <a:bodyPr/>
          <a:lstStyle/>
          <a:p>
            <a:r>
              <a:rPr lang="en-US" dirty="0" smtClean="0">
                <a:latin typeface="Century Gothic" panose="020B0502020202020204" pitchFamily="34" charset="0"/>
              </a:rPr>
              <a:t>Business profits form solving social problems</a:t>
            </a:r>
          </a:p>
          <a:p>
            <a:r>
              <a:rPr lang="en-US" dirty="0" smtClean="0">
                <a:latin typeface="Century Gothic" panose="020B0502020202020204" pitchFamily="34" charset="0"/>
              </a:rPr>
              <a:t>Pollution – reducing </a:t>
            </a:r>
            <a:r>
              <a:rPr lang="en-US" dirty="0" smtClean="0">
                <a:latin typeface="Century Gothic" panose="020B0502020202020204" pitchFamily="34" charset="0"/>
              </a:rPr>
              <a:t>emissions saves money, improves image </a:t>
            </a:r>
            <a:r>
              <a:rPr lang="en-US" dirty="0" smtClean="0">
                <a:latin typeface="Century Gothic" panose="020B0502020202020204" pitchFamily="34" charset="0"/>
              </a:rPr>
              <a:t>and makes business more productive </a:t>
            </a:r>
            <a:r>
              <a:rPr lang="en-US" dirty="0">
                <a:latin typeface="Century Gothic" panose="020B0502020202020204" pitchFamily="34" charset="0"/>
              </a:rPr>
              <a:t>&amp;</a:t>
            </a:r>
            <a:r>
              <a:rPr lang="en-US" dirty="0" smtClean="0">
                <a:latin typeface="Century Gothic" panose="020B0502020202020204" pitchFamily="34" charset="0"/>
              </a:rPr>
              <a:t> </a:t>
            </a:r>
            <a:r>
              <a:rPr lang="en-US" dirty="0" smtClean="0">
                <a:latin typeface="Century Gothic" panose="020B0502020202020204" pitchFamily="34" charset="0"/>
              </a:rPr>
              <a:t>efficient ultimately driving profit</a:t>
            </a:r>
            <a:endParaRPr lang="en-US" dirty="0" smtClean="0">
              <a:latin typeface="Century Gothic" panose="020B0502020202020204" pitchFamily="34" charset="0"/>
            </a:endParaRPr>
          </a:p>
          <a:p>
            <a:r>
              <a:rPr lang="en-US" dirty="0">
                <a:latin typeface="Century Gothic" panose="020B0502020202020204" pitchFamily="34" charset="0"/>
              </a:rPr>
              <a:t>A</a:t>
            </a:r>
            <a:r>
              <a:rPr lang="en-US" dirty="0" smtClean="0">
                <a:latin typeface="Century Gothic" panose="020B0502020202020204" pitchFamily="34" charset="0"/>
              </a:rPr>
              <a:t> fundamental deep synergy if you’re not thinking in the very short run</a:t>
            </a:r>
          </a:p>
          <a:p>
            <a:endParaRPr lang="en-US" dirty="0">
              <a:latin typeface="Century Gothic" panose="020B0502020202020204" pitchFamily="34" charset="0"/>
            </a:endParaRPr>
          </a:p>
        </p:txBody>
      </p:sp>
      <p:pic>
        <p:nvPicPr>
          <p:cNvPr id="4098" name="Picture 2" descr="Related image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704" y="10170368"/>
            <a:ext cx="23258584" cy="2940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326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704" y="628650"/>
            <a:ext cx="23792870" cy="1781176"/>
          </a:xfrm>
        </p:spPr>
        <p:txBody>
          <a:bodyPr>
            <a:noAutofit/>
          </a:bodyPr>
          <a:lstStyle/>
          <a:p>
            <a:r>
              <a:rPr lang="en-US" sz="9600" dirty="0">
                <a:latin typeface="Century Gothic" panose="020B0502020202020204" pitchFamily="34" charset="0"/>
              </a:rPr>
              <a:t>How do we use the power of busines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90750" y="11277601"/>
            <a:ext cx="21031200" cy="191452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dirty="0" smtClean="0">
                <a:latin typeface="Century Gothic" panose="020B0502020202020204" pitchFamily="34" charset="0"/>
              </a:rPr>
              <a:t>The </a:t>
            </a:r>
            <a:r>
              <a:rPr lang="en-US" b="1" dirty="0" smtClean="0">
                <a:latin typeface="Century Gothic" panose="020B0502020202020204" pitchFamily="34" charset="0"/>
              </a:rPr>
              <a:t>LARGEST</a:t>
            </a:r>
            <a:r>
              <a:rPr lang="en-US" dirty="0" smtClean="0">
                <a:latin typeface="Century Gothic" panose="020B0502020202020204" pitchFamily="34" charset="0"/>
              </a:rPr>
              <a:t> opportunities we see for business’s today is to solve social problems</a:t>
            </a:r>
            <a:endParaRPr lang="en-US" dirty="0">
              <a:latin typeface="Century Gothic" panose="020B0502020202020204" pitchFamily="34" charset="0"/>
            </a:endParaRPr>
          </a:p>
        </p:txBody>
      </p:sp>
      <p:pic>
        <p:nvPicPr>
          <p:cNvPr id="9218" name="Picture 2" descr="Image result for Circle of young Intrapreneu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00200"/>
            <a:ext cx="9944100" cy="994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91650" y="4057650"/>
            <a:ext cx="13106400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9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6838" y="796925"/>
            <a:ext cx="21802436" cy="2651126"/>
          </a:xfrm>
        </p:spPr>
        <p:txBody>
          <a:bodyPr/>
          <a:lstStyle/>
          <a:p>
            <a:pPr algn="ctr"/>
            <a:r>
              <a:rPr lang="en-US" dirty="0" smtClean="0">
                <a:latin typeface="Century Gothic" panose="020B0502020202020204" pitchFamily="34" charset="0"/>
              </a:rPr>
              <a:t>Our Purpose is to Create Shared Value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821" y="4597832"/>
            <a:ext cx="23386474" cy="8702676"/>
          </a:xfrm>
        </p:spPr>
        <p:txBody>
          <a:bodyPr/>
          <a:lstStyle/>
          <a:p>
            <a:pPr marL="0" indent="0" algn="ctr">
              <a:buNone/>
            </a:pPr>
            <a:r>
              <a:rPr lang="en-US" sz="8000" dirty="0">
                <a:latin typeface="Century Gothic" panose="020B0502020202020204" pitchFamily="34" charset="0"/>
              </a:rPr>
              <a:t>Addressing a </a:t>
            </a:r>
            <a:r>
              <a:rPr lang="en-US" sz="8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SOCIAL ISSUE </a:t>
            </a:r>
            <a:r>
              <a:rPr lang="en-US" sz="8000" dirty="0">
                <a:latin typeface="Century Gothic" panose="020B0502020202020204" pitchFamily="34" charset="0"/>
              </a:rPr>
              <a:t>with a </a:t>
            </a:r>
          </a:p>
          <a:p>
            <a:pPr marL="0" indent="0" algn="ctr">
              <a:buNone/>
            </a:pPr>
            <a:r>
              <a:rPr lang="en-US" sz="8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BUSINESS MODEL</a:t>
            </a:r>
          </a:p>
          <a:p>
            <a:pPr marL="0" indent="0" algn="ctr">
              <a:buNone/>
            </a:pPr>
            <a:endParaRPr lang="en-US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marL="0" indent="0" algn="ctr">
              <a:buNone/>
            </a:pPr>
            <a:r>
              <a:rPr lang="en-US" sz="10800" b="1" dirty="0">
                <a:latin typeface="Century Gothic" panose="020B0502020202020204" pitchFamily="34" charset="0"/>
              </a:rPr>
              <a:t>Social Value + Economic Value</a:t>
            </a:r>
          </a:p>
        </p:txBody>
      </p:sp>
    </p:spTree>
    <p:extLst>
      <p:ext uri="{BB962C8B-B14F-4D97-AF65-F5344CB8AC3E}">
        <p14:creationId xmlns:p14="http://schemas.microsoft.com/office/powerpoint/2010/main" val="357307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4950" y="152401"/>
            <a:ext cx="21031200" cy="2651126"/>
          </a:xfrm>
        </p:spPr>
        <p:txBody>
          <a:bodyPr>
            <a:normAutofit/>
          </a:bodyPr>
          <a:lstStyle/>
          <a:p>
            <a:pPr algn="ctr"/>
            <a:r>
              <a:rPr lang="en-US" sz="16000" dirty="0">
                <a:latin typeface="Century Gothic" panose="020B0502020202020204" pitchFamily="34" charset="0"/>
              </a:rPr>
              <a:t>Solu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1160" y="6632086"/>
            <a:ext cx="4876800" cy="12065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8000" dirty="0">
                <a:latin typeface="Century Gothic" panose="020B0502020202020204" pitchFamily="34" charset="0"/>
              </a:rPr>
              <a:t>Change the way business sees itself</a:t>
            </a:r>
          </a:p>
        </p:txBody>
      </p:sp>
      <p:sp>
        <p:nvSpPr>
          <p:cNvPr id="4" name="Rectangle 3"/>
          <p:cNvSpPr/>
          <p:nvPr/>
        </p:nvSpPr>
        <p:spPr>
          <a:xfrm>
            <a:off x="14606118" y="4976636"/>
            <a:ext cx="4344340" cy="5724644"/>
          </a:xfrm>
          <a:prstGeom prst="rect">
            <a:avLst/>
          </a:prstGeom>
        </p:spPr>
        <p:txBody>
          <a:bodyPr wrap="square" lIns="182880" tIns="91440" rIns="182880" bIns="91440">
            <a:spAutoFit/>
          </a:bodyPr>
          <a:lstStyle/>
          <a:p>
            <a:r>
              <a:rPr lang="en-US" sz="7200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Change how others see business</a:t>
            </a:r>
          </a:p>
        </p:txBody>
      </p:sp>
      <p:sp>
        <p:nvSpPr>
          <p:cNvPr id="5" name="Oval 4"/>
          <p:cNvSpPr/>
          <p:nvPr/>
        </p:nvSpPr>
        <p:spPr>
          <a:xfrm>
            <a:off x="3067049" y="2800352"/>
            <a:ext cx="10201278" cy="9963152"/>
          </a:xfrm>
          <a:prstGeom prst="ellipse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endParaRPr lang="en-US" sz="3600" kern="1200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10086975" y="2800350"/>
            <a:ext cx="10201278" cy="9963152"/>
          </a:xfrm>
          <a:prstGeom prst="ellipse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endParaRPr lang="en-US" sz="3600" kern="1200">
              <a:solidFill>
                <a:prstClr val="white"/>
              </a:solidFill>
            </a:endParaRPr>
          </a:p>
        </p:txBody>
      </p:sp>
      <p:pic>
        <p:nvPicPr>
          <p:cNvPr id="8" name="Picture 2" descr="Image result for Circle of young Intrapreneu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9289" y="6446890"/>
            <a:ext cx="2670076" cy="267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6295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3" name="Shape 2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0000" y="312956"/>
            <a:ext cx="23684000" cy="130900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14" name="Shape 21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78933" y="7558760"/>
            <a:ext cx="21226133" cy="76200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Shape 215"/>
          <p:cNvSpPr/>
          <p:nvPr/>
        </p:nvSpPr>
        <p:spPr>
          <a:xfrm>
            <a:off x="1516980" y="5166723"/>
            <a:ext cx="21350037" cy="2318583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72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WHY IS SOCIAL INTRAPRENEURSHIP IMPORTANT?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0" name="Shape 2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0000" y="312956"/>
            <a:ext cx="23684000" cy="130900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1" name="Shape 22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5400000">
            <a:off x="7028681" y="7023272"/>
            <a:ext cx="10064892" cy="117727"/>
          </a:xfrm>
          <a:prstGeom prst="rect">
            <a:avLst/>
          </a:prstGeom>
          <a:noFill/>
          <a:ln>
            <a:noFill/>
          </a:ln>
        </p:spPr>
      </p:pic>
      <p:sp>
        <p:nvSpPr>
          <p:cNvPr id="222" name="Shape 222"/>
          <p:cNvSpPr/>
          <p:nvPr/>
        </p:nvSpPr>
        <p:spPr>
          <a:xfrm>
            <a:off x="2542927" y="1097359"/>
            <a:ext cx="7290643" cy="933588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54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INDIVIDUALS</a:t>
            </a:r>
          </a:p>
        </p:txBody>
      </p:sp>
      <p:sp>
        <p:nvSpPr>
          <p:cNvPr id="223" name="Shape 223"/>
          <p:cNvSpPr/>
          <p:nvPr/>
        </p:nvSpPr>
        <p:spPr>
          <a:xfrm>
            <a:off x="14640271" y="1097359"/>
            <a:ext cx="7290643" cy="933588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54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SOCIETY</a:t>
            </a:r>
          </a:p>
        </p:txBody>
      </p:sp>
      <p:pic>
        <p:nvPicPr>
          <p:cNvPr id="224" name="Shape 22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78933" y="2026755"/>
            <a:ext cx="21226133" cy="76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5" name="Shape 22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353878" y="563493"/>
            <a:ext cx="2262057" cy="2262057"/>
          </a:xfrm>
          <a:prstGeom prst="rect">
            <a:avLst/>
          </a:prstGeom>
          <a:noFill/>
          <a:ln>
            <a:noFill/>
          </a:ln>
        </p:spPr>
      </p:pic>
      <p:pic>
        <p:nvPicPr>
          <p:cNvPr id="226" name="Shape 22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0624462" y="233263"/>
            <a:ext cx="2584760" cy="2584760"/>
          </a:xfrm>
          <a:prstGeom prst="rect">
            <a:avLst/>
          </a:prstGeom>
          <a:noFill/>
          <a:ln>
            <a:noFill/>
          </a:ln>
        </p:spPr>
      </p:pic>
      <p:sp>
        <p:nvSpPr>
          <p:cNvPr id="227" name="Shape 227"/>
          <p:cNvSpPr/>
          <p:nvPr/>
        </p:nvSpPr>
        <p:spPr>
          <a:xfrm>
            <a:off x="294219" y="4259510"/>
            <a:ext cx="11514879" cy="5334793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r>
              <a:rPr lang="en-GB" sz="40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DEVELOPMENT: DO WELL</a:t>
            </a: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Noto Sans Symbols"/>
              <a:buNone/>
            </a:pPr>
            <a:endParaRPr sz="4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r>
              <a:rPr lang="en-GB" sz="40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PURPOSE</a:t>
            </a: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Noto Sans Symbols"/>
              <a:buNone/>
            </a:pPr>
            <a:endParaRPr sz="4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r>
              <a:rPr lang="en-GB" sz="40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VALUE</a:t>
            </a: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Noto Sans Symbols"/>
              <a:buNone/>
            </a:pPr>
            <a:endParaRPr sz="4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r>
              <a:rPr lang="en-GB" sz="40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MEANING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6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28" name="Shape 228"/>
          <p:cNvSpPr/>
          <p:nvPr/>
        </p:nvSpPr>
        <p:spPr>
          <a:xfrm>
            <a:off x="12257375" y="4259510"/>
            <a:ext cx="11514879" cy="5334793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r>
              <a:rPr lang="en-GB" sz="40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IMPACT: DO GOOD</a:t>
            </a: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Noto Sans Symbols"/>
              <a:buNone/>
            </a:pPr>
            <a:endParaRPr sz="4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r>
              <a:rPr lang="en-GB" sz="40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SHIFT THE ‘OIL TANKER’</a:t>
            </a: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Noto Sans Symbols"/>
              <a:buNone/>
            </a:pPr>
            <a:endParaRPr sz="4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r>
              <a:rPr lang="en-GB" sz="40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SUSTAINABILITY</a:t>
            </a: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Noto Sans Symbols"/>
              <a:buNone/>
            </a:pPr>
            <a:endParaRPr sz="4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685800" marR="0" lvl="0" indent="-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100000"/>
              <a:buFont typeface="Noto Sans Symbols"/>
              <a:buChar char="➢"/>
            </a:pPr>
            <a:r>
              <a:rPr lang="en-GB" sz="40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WORKING CULTURE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6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50000" y="312956"/>
            <a:ext cx="23684000" cy="13090088"/>
          </a:xfrm>
          <a:prstGeom prst="rect">
            <a:avLst/>
          </a:prstGeom>
        </p:spPr>
      </p:pic>
      <p:sp>
        <p:nvSpPr>
          <p:cNvPr id="6" name="Shape 156"/>
          <p:cNvSpPr/>
          <p:nvPr/>
        </p:nvSpPr>
        <p:spPr>
          <a:xfrm>
            <a:off x="1516981" y="881336"/>
            <a:ext cx="21350038" cy="10874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 defTabSz="821531">
              <a:defRPr sz="8000" cap="all" spc="1279">
                <a:solidFill>
                  <a:srgbClr val="FF7E79"/>
                </a:solidFill>
                <a:latin typeface="DK Moonlight Serenade"/>
                <a:ea typeface="DK Moonlight Serenade"/>
                <a:cs typeface="DK Moonlight Serenade"/>
                <a:sym typeface="DK Moonlight Serenade"/>
              </a:defRPr>
            </a:lvl1pPr>
          </a:lstStyle>
          <a:p>
            <a:pPr algn="ctr" hangingPunct="0"/>
            <a:r>
              <a:rPr lang="en-GB" sz="3200" dirty="0" smtClean="0"/>
              <a:t>The TRUMP Card – why social intrapreneurship is important to corporates</a:t>
            </a:r>
            <a:endParaRPr sz="32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981" y="1788122"/>
            <a:ext cx="4212718" cy="5897806"/>
          </a:xfrm>
          <a:prstGeom prst="rect">
            <a:avLst/>
          </a:prstGeom>
        </p:spPr>
      </p:pic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2187754934"/>
              </p:ext>
            </p:extLst>
          </p:nvPr>
        </p:nvGraphicFramePr>
        <p:xfrm>
          <a:off x="7025232" y="665312"/>
          <a:ext cx="16256000" cy="108373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26984267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Shape 24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0000" y="312956"/>
            <a:ext cx="23684000" cy="13090088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TextBox 58"/>
          <p:cNvSpPr txBox="1"/>
          <p:nvPr/>
        </p:nvSpPr>
        <p:spPr>
          <a:xfrm>
            <a:off x="9981971" y="12135795"/>
            <a:ext cx="4646878" cy="16124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da-DK" sz="8200" b="1" kern="1200" dirty="0">
                <a:solidFill>
                  <a:srgbClr val="000000">
                    <a:lumMod val="95000"/>
                    <a:lumOff val="5000"/>
                  </a:srgbClr>
                </a:solidFill>
                <a:latin typeface="Arial Black" panose="020B0A04020102020204" pitchFamily="34" charset="0"/>
              </a:rPr>
              <a:t>WTF?</a:t>
            </a:r>
          </a:p>
        </p:txBody>
      </p:sp>
      <p:sp>
        <p:nvSpPr>
          <p:cNvPr id="62" name="Rectangle 61"/>
          <p:cNvSpPr/>
          <p:nvPr/>
        </p:nvSpPr>
        <p:spPr>
          <a:xfrm>
            <a:off x="1061692" y="3063198"/>
            <a:ext cx="9257908" cy="763843"/>
          </a:xfrm>
          <a:prstGeom prst="rect">
            <a:avLst/>
          </a:prstGeom>
        </p:spPr>
        <p:txBody>
          <a:bodyPr wrap="square" lIns="207813" tIns="103908" rIns="207813" bIns="103908">
            <a:spAutoFit/>
          </a:bodyPr>
          <a:lstStyle/>
          <a:p>
            <a:pPr eaLnBrk="0" fontAlgn="base" hangingPunct="0">
              <a:spcBef>
                <a:spcPts val="1364"/>
              </a:spcBef>
              <a:spcAft>
                <a:spcPct val="0"/>
              </a:spcAft>
              <a:buClr>
                <a:srgbClr val="293947"/>
              </a:buClr>
            </a:pPr>
            <a:r>
              <a:rPr lang="en-US" sz="1800" b="1" kern="1200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</a:rPr>
              <a:t>Achieving the SDGs </a:t>
            </a:r>
            <a:r>
              <a:rPr lang="en-US" sz="1800" b="1" kern="12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</a:rPr>
              <a:t>requires business involvement and, in fact, represents a business opportunity.</a:t>
            </a:r>
          </a:p>
        </p:txBody>
      </p:sp>
      <p:sp>
        <p:nvSpPr>
          <p:cNvPr id="63" name="Rectangle 62"/>
          <p:cNvSpPr/>
          <p:nvPr/>
        </p:nvSpPr>
        <p:spPr>
          <a:xfrm>
            <a:off x="14405317" y="3063198"/>
            <a:ext cx="9003323" cy="943380"/>
          </a:xfrm>
          <a:prstGeom prst="rect">
            <a:avLst/>
          </a:prstGeom>
        </p:spPr>
        <p:txBody>
          <a:bodyPr wrap="square" lIns="207813" tIns="103908" rIns="207813" bIns="103908">
            <a:spAutoFit/>
          </a:bodyPr>
          <a:lstStyle/>
          <a:p>
            <a:pPr eaLnBrk="0" fontAlgn="base" hangingPunct="0">
              <a:spcBef>
                <a:spcPts val="1364"/>
              </a:spcBef>
              <a:spcAft>
                <a:spcPct val="0"/>
              </a:spcAft>
              <a:buClr>
                <a:srgbClr val="293947"/>
              </a:buClr>
            </a:pPr>
            <a:r>
              <a:rPr lang="en-US" sz="1800" b="1" kern="12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</a:rPr>
              <a:t>Companies struggle to attract and retain talent </a:t>
            </a:r>
          </a:p>
          <a:p>
            <a:pPr eaLnBrk="0" fontAlgn="base" hangingPunct="0">
              <a:spcBef>
                <a:spcPts val="1364"/>
              </a:spcBef>
              <a:spcAft>
                <a:spcPct val="0"/>
              </a:spcAft>
              <a:buClr>
                <a:srgbClr val="293947"/>
              </a:buClr>
            </a:pPr>
            <a:endParaRPr lang="en-US" sz="1800" b="1" kern="1200" dirty="0">
              <a:solidFill>
                <a:srgbClr val="000000">
                  <a:lumMod val="95000"/>
                  <a:lumOff val="5000"/>
                </a:srgbClr>
              </a:solidFill>
              <a:latin typeface="Arial" charset="0"/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2159" y="9351194"/>
            <a:ext cx="886154" cy="720000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59769" y="9635674"/>
            <a:ext cx="886154" cy="720000"/>
          </a:xfrm>
          <a:prstGeom prst="rect">
            <a:avLst/>
          </a:prstGeom>
        </p:spPr>
      </p:pic>
      <p:pic>
        <p:nvPicPr>
          <p:cNvPr id="74" name="Shape 278"/>
          <p:cNvPicPr preferRelativeResize="0">
            <a:picLocks noChangeAspect="1"/>
          </p:cNvPicPr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4060325" y="4712314"/>
            <a:ext cx="2658462" cy="1938368"/>
          </a:xfrm>
          <a:prstGeom prst="rect">
            <a:avLst/>
          </a:prstGeom>
          <a:noFill/>
          <a:ln>
            <a:noFill/>
          </a:ln>
        </p:spPr>
      </p:pic>
      <p:sp>
        <p:nvSpPr>
          <p:cNvPr id="82" name="Isosceles Triangle 81"/>
          <p:cNvSpPr/>
          <p:nvPr/>
        </p:nvSpPr>
        <p:spPr bwMode="auto">
          <a:xfrm rot="10800000">
            <a:off x="1185447" y="11099800"/>
            <a:ext cx="21849472" cy="711200"/>
          </a:xfrm>
          <a:prstGeom prst="triangle">
            <a:avLst/>
          </a:prstGeom>
          <a:solidFill>
            <a:srgbClr val="7F7F7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204541" tIns="106360" rIns="204541" bIns="106360" numCol="1" rtlCol="0" anchor="ctr" anchorCtr="0" compatLnSpc="1">
            <a:prstTxWarp prst="textNoShape">
              <a:avLst/>
            </a:prstTxWarp>
          </a:bodyPr>
          <a:lstStyle/>
          <a:p>
            <a:pPr algn="ctr" defTabSz="2078132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</a:pPr>
            <a:endParaRPr lang="da-DK" kern="1200" dirty="0">
              <a:solidFill>
                <a:srgbClr val="000000">
                  <a:lumMod val="95000"/>
                  <a:lumOff val="5000"/>
                </a:srgbClr>
              </a:solidFill>
              <a:latin typeface="Arial" charset="0"/>
            </a:endParaRPr>
          </a:p>
        </p:txBody>
      </p:sp>
      <p:sp>
        <p:nvSpPr>
          <p:cNvPr id="98" name="Right Brace 97"/>
          <p:cNvSpPr/>
          <p:nvPr/>
        </p:nvSpPr>
        <p:spPr bwMode="auto">
          <a:xfrm>
            <a:off x="14783316" y="8742327"/>
            <a:ext cx="695808" cy="1938418"/>
          </a:xfrm>
          <a:prstGeom prst="rightBrace">
            <a:avLst>
              <a:gd name="adj1" fmla="val 63672"/>
              <a:gd name="adj2" fmla="val 50000"/>
            </a:avLst>
          </a:prstGeom>
          <a:noFill/>
          <a:ln w="762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4541" tIns="106360" rIns="204541" bIns="106360" numCol="1" rtlCol="0" anchor="ctr" anchorCtr="0" compatLnSpc="1">
            <a:prstTxWarp prst="textNoShape">
              <a:avLst/>
            </a:prstTxWarp>
          </a:bodyPr>
          <a:lstStyle/>
          <a:p>
            <a:pPr algn="ctr" defTabSz="2078132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</a:pPr>
            <a:endParaRPr lang="da-DK" kern="1200">
              <a:solidFill>
                <a:srgbClr val="737377"/>
              </a:solidFill>
              <a:latin typeface="Arial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16609698" y="9108995"/>
            <a:ext cx="838750" cy="112158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da-DK" sz="9100" b="1" kern="1200" dirty="0">
                <a:solidFill>
                  <a:srgbClr val="D78539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15869058" y="9414385"/>
            <a:ext cx="608143" cy="4425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da-DK" sz="4500" kern="1200" dirty="0">
                <a:latin typeface="Arial Black" panose="020B0A04020102020204" pitchFamily="34" charset="0"/>
              </a:rPr>
              <a:t>X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330639" y="3749043"/>
            <a:ext cx="1969836" cy="8025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da-DK" sz="4500" b="1" kern="1200" dirty="0">
                <a:solidFill>
                  <a:srgbClr val="D78539"/>
                </a:solidFill>
                <a:latin typeface="Arial" charset="0"/>
              </a:rPr>
              <a:t>AND</a:t>
            </a:r>
          </a:p>
        </p:txBody>
      </p:sp>
      <p:cxnSp>
        <p:nvCxnSpPr>
          <p:cNvPr id="111" name="Straight Connector 110"/>
          <p:cNvCxnSpPr/>
          <p:nvPr/>
        </p:nvCxnSpPr>
        <p:spPr bwMode="auto">
          <a:xfrm>
            <a:off x="855915" y="7498080"/>
            <a:ext cx="22552726" cy="3048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4" name="TextBox 113"/>
          <p:cNvSpPr txBox="1"/>
          <p:nvPr/>
        </p:nvSpPr>
        <p:spPr>
          <a:xfrm>
            <a:off x="10771960" y="7180507"/>
            <a:ext cx="3087193" cy="6351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da-DK" sz="4500" b="1" kern="1200" dirty="0">
                <a:solidFill>
                  <a:srgbClr val="D78539"/>
                </a:solidFill>
                <a:latin typeface="Arial" charset="0"/>
              </a:rPr>
              <a:t>BUT</a:t>
            </a:r>
          </a:p>
        </p:txBody>
      </p:sp>
      <p:pic>
        <p:nvPicPr>
          <p:cNvPr id="115" name="Picture 1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2159" y="10052382"/>
            <a:ext cx="886154" cy="720000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59769" y="8915674"/>
            <a:ext cx="886154" cy="720000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2159" y="8631194"/>
            <a:ext cx="886154" cy="720000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751044" y="7908613"/>
            <a:ext cx="2546533" cy="2004686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3057650" y="8762892"/>
            <a:ext cx="9257908" cy="825399"/>
          </a:xfrm>
          <a:prstGeom prst="rect">
            <a:avLst/>
          </a:prstGeom>
        </p:spPr>
        <p:txBody>
          <a:bodyPr wrap="square" lIns="207813" tIns="103908" rIns="207813" bIns="103908">
            <a:spAutoFit/>
          </a:bodyPr>
          <a:lstStyle/>
          <a:p>
            <a:pPr eaLnBrk="0" fontAlgn="base" hangingPunct="0">
              <a:spcBef>
                <a:spcPts val="1364"/>
              </a:spcBef>
              <a:spcAft>
                <a:spcPct val="0"/>
              </a:spcAft>
              <a:buClr>
                <a:srgbClr val="293947"/>
              </a:buClr>
            </a:pPr>
            <a:r>
              <a:rPr lang="en-US" sz="2000" b="1" kern="1200" dirty="0" err="1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</a:rPr>
              <a:t>Millenials</a:t>
            </a:r>
            <a:r>
              <a:rPr lang="en-US" sz="2000" b="1" kern="12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</a:rPr>
              <a:t> are 5x more likely to stay at a company which has clear purpose and positive social impact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8271265" y="9984549"/>
            <a:ext cx="5506080" cy="11829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GB" sz="2000" b="1" kern="1200" dirty="0">
                <a:latin typeface="Arial" charset="0"/>
              </a:rPr>
              <a:t>Currently 44% of </a:t>
            </a:r>
            <a:r>
              <a:rPr lang="en-GB" sz="2000" b="1" kern="1200" dirty="0" err="1">
                <a:latin typeface="Arial" charset="0"/>
              </a:rPr>
              <a:t>millenials</a:t>
            </a:r>
            <a:r>
              <a:rPr lang="en-GB" sz="2000" b="1" kern="1200" dirty="0">
                <a:latin typeface="Arial" charset="0"/>
              </a:rPr>
              <a:t> say they will leave their company within the next 2 year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5869062" y="4493026"/>
            <a:ext cx="6124443" cy="15437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GB" kern="1200" dirty="0" smtClean="0">
                <a:latin typeface="Arial" charset="0"/>
              </a:rPr>
              <a:t>Cost per leaver </a:t>
            </a:r>
            <a:r>
              <a:rPr lang="en-GB" sz="4500" b="1" kern="1200" dirty="0">
                <a:solidFill>
                  <a:srgbClr val="3876BE"/>
                </a:solidFill>
                <a:latin typeface="Arial" charset="0"/>
              </a:rPr>
              <a:t>£30,000</a:t>
            </a:r>
          </a:p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GB" kern="1200" dirty="0" smtClean="0">
                <a:latin typeface="Arial" charset="0"/>
              </a:rPr>
              <a:t>Annual cost to the UK economy £4.1b</a:t>
            </a:r>
          </a:p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Font typeface="Symbol" pitchFamily="18" charset="2"/>
              <a:buNone/>
            </a:pPr>
            <a:r>
              <a:rPr lang="en-GB" kern="1200" dirty="0" smtClean="0">
                <a:latin typeface="Arial" charset="0"/>
              </a:rPr>
              <a:t>(The Telegraph, 2014)</a:t>
            </a:r>
          </a:p>
        </p:txBody>
      </p:sp>
      <p:sp>
        <p:nvSpPr>
          <p:cNvPr id="23" name="Shape 234"/>
          <p:cNvSpPr/>
          <p:nvPr/>
        </p:nvSpPr>
        <p:spPr>
          <a:xfrm>
            <a:off x="1516980" y="881336"/>
            <a:ext cx="21350037" cy="1087476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3200" b="0" i="0" u="none" strike="noStrike" cap="none" dirty="0" smtClean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SOME MATHS</a:t>
            </a:r>
            <a:endParaRPr lang="en-GB" sz="3200" b="0" i="0" u="none" strike="noStrike" cap="none" dirty="0">
              <a:solidFill>
                <a:srgbClr val="FF7E7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744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3" grpId="0"/>
      <p:bldP spid="82" grpId="0" animBg="1"/>
      <p:bldP spid="98" grpId="0" animBg="1"/>
      <p:bldP spid="99" grpId="0"/>
      <p:bldP spid="100" grpId="0"/>
      <p:bldP spid="109" grpId="0"/>
      <p:bldP spid="11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pe 2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50000" y="312956"/>
            <a:ext cx="23684000" cy="130900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90" name="Picture 2" descr="http://www.wri.org/sites/default/files/uploads/SDGs-GlobalGoalsForSustainableDevelopment-05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3288" y="3041576"/>
            <a:ext cx="11881320" cy="9515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hape 234"/>
          <p:cNvSpPr/>
          <p:nvPr/>
        </p:nvSpPr>
        <p:spPr>
          <a:xfrm>
            <a:off x="1516980" y="881336"/>
            <a:ext cx="21350037" cy="1087476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3200" b="0" i="0" u="none" strike="noStrike" cap="none" dirty="0" smtClean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RESPONSIBILITY?</a:t>
            </a:r>
            <a:endParaRPr lang="en-GB" sz="3200" b="0" i="0" u="none" strike="noStrike" cap="none" dirty="0">
              <a:solidFill>
                <a:srgbClr val="FF7E7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689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1" name="Shape 24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0000" y="312956"/>
            <a:ext cx="23684000" cy="130900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42" name="Shape 24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78933" y="7558760"/>
            <a:ext cx="21226133" cy="76200"/>
          </a:xfrm>
          <a:prstGeom prst="rect">
            <a:avLst/>
          </a:prstGeom>
          <a:noFill/>
          <a:ln>
            <a:noFill/>
          </a:ln>
        </p:spPr>
      </p:pic>
      <p:sp>
        <p:nvSpPr>
          <p:cNvPr id="243" name="Shape 243"/>
          <p:cNvSpPr/>
          <p:nvPr/>
        </p:nvSpPr>
        <p:spPr>
          <a:xfrm>
            <a:off x="1516980" y="5166723"/>
            <a:ext cx="21350037" cy="2318583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7200" b="0" i="0" u="none" strike="noStrike" cap="none" dirty="0" smtClean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THE TALE</a:t>
            </a:r>
            <a:endParaRPr lang="en-GB" sz="7200" b="0" i="0" u="none" strike="noStrike" cap="none" dirty="0">
              <a:solidFill>
                <a:srgbClr val="FF7E7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" name="Shape 1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0000" y="312956"/>
            <a:ext cx="23684000" cy="13090088"/>
          </a:xfrm>
          <a:prstGeom prst="rect">
            <a:avLst/>
          </a:prstGeom>
          <a:noFill/>
          <a:ln>
            <a:noFill/>
          </a:ln>
        </p:spPr>
      </p:pic>
      <p:sp>
        <p:nvSpPr>
          <p:cNvPr id="166" name="Shape 166"/>
          <p:cNvSpPr/>
          <p:nvPr/>
        </p:nvSpPr>
        <p:spPr>
          <a:xfrm>
            <a:off x="2658996" y="4769767"/>
            <a:ext cx="19096900" cy="2564804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8000" b="0" i="0" u="none" strike="noStrike" cap="none" dirty="0" smtClean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THE THEORY</a:t>
            </a:r>
            <a:endParaRPr lang="en-GB" sz="8000" b="0" i="0" u="none" strike="noStrike" cap="none" dirty="0">
              <a:solidFill>
                <a:srgbClr val="FF7E7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7" name="Shape 167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465667" y="7558760"/>
            <a:ext cx="15452665" cy="76200"/>
          </a:xfrm>
          <a:prstGeom prst="rect">
            <a:avLst/>
          </a:prstGeom>
          <a:noFill/>
          <a:ln>
            <a:noFill/>
          </a:ln>
        </p:spPr>
      </p:pic>
      <p:sp>
        <p:nvSpPr>
          <p:cNvPr id="168" name="Shape 168"/>
          <p:cNvSpPr txBox="1"/>
          <p:nvPr/>
        </p:nvSpPr>
        <p:spPr>
          <a:xfrm>
            <a:off x="127000" y="13446820"/>
            <a:ext cx="24129999" cy="256480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 Internal Only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hape 1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50000" y="312956"/>
            <a:ext cx="23684000" cy="1309008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hape 179"/>
          <p:cNvSpPr/>
          <p:nvPr/>
        </p:nvSpPr>
        <p:spPr>
          <a:xfrm>
            <a:off x="1516980" y="5633864"/>
            <a:ext cx="21350037" cy="1384301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8000" b="0" i="0" u="none" strike="noStrike" cap="none" dirty="0" smtClean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BARCLAYS ROUNDUP</a:t>
            </a:r>
            <a:endParaRPr lang="en-GB" sz="8000" b="0" i="0" u="none" strike="noStrike" cap="none" dirty="0">
              <a:solidFill>
                <a:srgbClr val="FF7E7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" name="Shape 18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78933" y="7558760"/>
            <a:ext cx="21226133" cy="762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95001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rc 18"/>
          <p:cNvSpPr/>
          <p:nvPr/>
        </p:nvSpPr>
        <p:spPr bwMode="auto">
          <a:xfrm>
            <a:off x="9666128" y="5091288"/>
            <a:ext cx="6414865" cy="4766308"/>
          </a:xfrm>
          <a:prstGeom prst="arc">
            <a:avLst>
              <a:gd name="adj1" fmla="val 16649244"/>
              <a:gd name="adj2" fmla="val 16585946"/>
            </a:avLst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2078132" fontAlgn="base">
              <a:spcBef>
                <a:spcPct val="0"/>
              </a:spcBef>
              <a:spcAft>
                <a:spcPct val="0"/>
              </a:spcAft>
            </a:pPr>
            <a:endParaRPr lang="en-GB" sz="8200" kern="1200">
              <a:solidFill>
                <a:srgbClr val="00AEEF"/>
              </a:solidFill>
              <a:latin typeface="Arial" pitchFamily="34" charset="0"/>
              <a:cs typeface="Arial" charset="0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0216086"/>
              </p:ext>
            </p:extLst>
          </p:nvPr>
        </p:nvGraphicFramePr>
        <p:xfrm>
          <a:off x="3910" y="3179"/>
          <a:ext cx="390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910" y="3179"/>
                        <a:ext cx="390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unded Rectangle 5"/>
          <p:cNvSpPr/>
          <p:nvPr/>
        </p:nvSpPr>
        <p:spPr bwMode="auto">
          <a:xfrm>
            <a:off x="1824906" y="2164710"/>
            <a:ext cx="21425058" cy="10114376"/>
          </a:xfrm>
          <a:prstGeom prst="roundRect">
            <a:avLst>
              <a:gd name="adj" fmla="val 4490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2078132" fontAlgn="base">
              <a:spcBef>
                <a:spcPct val="0"/>
              </a:spcBef>
              <a:spcAft>
                <a:spcPct val="0"/>
              </a:spcAft>
            </a:pPr>
            <a:endParaRPr lang="en-GB" sz="8200" kern="1200" dirty="0">
              <a:solidFill>
                <a:srgbClr val="00AEEF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79149" y="567007"/>
            <a:ext cx="19614378" cy="1323439"/>
          </a:xfrm>
        </p:spPr>
        <p:txBody>
          <a:bodyPr/>
          <a:lstStyle/>
          <a:p>
            <a:r>
              <a:rPr lang="en-GB" sz="4300" i="1" dirty="0"/>
              <a:t>Barclays </a:t>
            </a:r>
            <a:r>
              <a:rPr lang="en-GB" sz="4300" i="1" dirty="0" err="1"/>
              <a:t>RoundUp</a:t>
            </a:r>
            <a:r>
              <a:rPr lang="en-GB" sz="4300" i="1" dirty="0"/>
              <a:t> is a collaborative micro-donation initiative that facilitates a virtuous cycle amongst our customers, social enterprises and Barclays</a:t>
            </a:r>
            <a:endParaRPr lang="en-GB" sz="4300" i="1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17" y="217021"/>
            <a:ext cx="2616812" cy="2001366"/>
          </a:xfrm>
          <a:prstGeom prst="rect">
            <a:avLst/>
          </a:prstGeom>
        </p:spPr>
      </p:pic>
      <p:cxnSp>
        <p:nvCxnSpPr>
          <p:cNvPr id="126976" name="Straight Connector 126975"/>
          <p:cNvCxnSpPr/>
          <p:nvPr/>
        </p:nvCxnSpPr>
        <p:spPr bwMode="auto">
          <a:xfrm>
            <a:off x="2100529" y="4139516"/>
            <a:ext cx="20824615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/>
          <p:cNvSpPr/>
          <p:nvPr/>
        </p:nvSpPr>
        <p:spPr>
          <a:xfrm>
            <a:off x="2291025" y="2277521"/>
            <a:ext cx="20699604" cy="1317841"/>
          </a:xfrm>
          <a:prstGeom prst="rect">
            <a:avLst/>
          </a:prstGeom>
        </p:spPr>
        <p:txBody>
          <a:bodyPr wrap="square" lIns="207813" tIns="103908" rIns="207813" bIns="103908">
            <a:spAutoFit/>
          </a:bodyPr>
          <a:lstStyle/>
          <a:p>
            <a:pPr marL="389650" indent="-3896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GB" sz="3600" kern="1200" dirty="0">
                <a:solidFill>
                  <a:srgbClr val="00AEEF"/>
                </a:solidFill>
                <a:latin typeface="Expert Sans Regular"/>
                <a:cs typeface="Arial" charset="0"/>
              </a:rPr>
              <a:t>An </a:t>
            </a:r>
            <a:r>
              <a:rPr lang="en-GB" sz="3600" b="1" kern="1200" dirty="0">
                <a:solidFill>
                  <a:srgbClr val="00AEEF"/>
                </a:solidFill>
                <a:latin typeface="Expert Sans Regular"/>
                <a:cs typeface="Arial" charset="0"/>
              </a:rPr>
              <a:t>optional bolt-on feature </a:t>
            </a:r>
            <a:r>
              <a:rPr lang="en-GB" sz="3600" kern="1200" dirty="0">
                <a:solidFill>
                  <a:srgbClr val="00AEEF"/>
                </a:solidFill>
                <a:latin typeface="Expert Sans Regular"/>
                <a:cs typeface="Arial" charset="0"/>
              </a:rPr>
              <a:t>to existing Barclays products which creates a new donation mechanism</a:t>
            </a:r>
          </a:p>
          <a:p>
            <a:pPr marL="389650" indent="-3896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GB" sz="3600" kern="1200" dirty="0">
                <a:solidFill>
                  <a:srgbClr val="00AEEF"/>
                </a:solidFill>
                <a:latin typeface="Expert Sans Regular"/>
                <a:cs typeface="Arial" charset="0"/>
              </a:rPr>
              <a:t>Funds go </a:t>
            </a:r>
            <a:r>
              <a:rPr lang="en-GB" sz="3600" b="1" kern="1200" dirty="0">
                <a:solidFill>
                  <a:srgbClr val="00AEEF"/>
                </a:solidFill>
                <a:latin typeface="Expert Sans Regular"/>
                <a:cs typeface="Arial" charset="0"/>
              </a:rPr>
              <a:t>towards customer’s choice of social impact portfolio</a:t>
            </a:r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3542428820"/>
              </p:ext>
            </p:extLst>
          </p:nvPr>
        </p:nvGraphicFramePr>
        <p:xfrm>
          <a:off x="7989203" y="4289489"/>
          <a:ext cx="9595419" cy="58648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11911375" y="5313756"/>
            <a:ext cx="191839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GB" sz="2700" b="1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Customer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9756463" y="8647060"/>
            <a:ext cx="2147505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2700" b="1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Society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4064208" y="8661520"/>
            <a:ext cx="149001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GB" sz="2700" b="1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Barclays</a:t>
            </a:r>
          </a:p>
        </p:txBody>
      </p:sp>
      <p:sp>
        <p:nvSpPr>
          <p:cNvPr id="20" name="Rounded Rectangle 19"/>
          <p:cNvSpPr/>
          <p:nvPr/>
        </p:nvSpPr>
        <p:spPr bwMode="auto">
          <a:xfrm>
            <a:off x="16172653" y="5254889"/>
            <a:ext cx="6752495" cy="1396127"/>
          </a:xfrm>
          <a:prstGeom prst="roundRect">
            <a:avLst/>
          </a:prstGeom>
          <a:solidFill>
            <a:srgbClr val="640666">
              <a:alpha val="34902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2078132" fontAlgn="base">
              <a:spcBef>
                <a:spcPct val="0"/>
              </a:spcBef>
              <a:spcAft>
                <a:spcPct val="0"/>
              </a:spcAft>
            </a:pPr>
            <a:endParaRPr lang="en-GB" sz="8200" kern="1200">
              <a:solidFill>
                <a:srgbClr val="00AEEF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6341429" y="4797494"/>
            <a:ext cx="6540601" cy="17004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8002" indent="-368002" fontAlgn="base">
              <a:spcBef>
                <a:spcPts val="455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kern="1200" dirty="0">
                <a:solidFill>
                  <a:srgbClr val="FFFFFF"/>
                </a:solidFill>
                <a:latin typeface="Expert Sans Regular" pitchFamily="34" charset="0"/>
                <a:cs typeface="Arial" charset="0"/>
              </a:rPr>
              <a:t>Donate </a:t>
            </a:r>
            <a:r>
              <a:rPr lang="en-GB" b="1" u="sng" kern="1200" dirty="0">
                <a:solidFill>
                  <a:srgbClr val="FFFFFF"/>
                </a:solidFill>
                <a:latin typeface="Expert Sans Regular" pitchFamily="34" charset="0"/>
                <a:cs typeface="Arial" charset="0"/>
              </a:rPr>
              <a:t>conveniently</a:t>
            </a:r>
            <a:r>
              <a:rPr lang="en-GB" kern="1200" dirty="0">
                <a:solidFill>
                  <a:srgbClr val="FFFFFF"/>
                </a:solidFill>
                <a:latin typeface="Expert Sans Regular" pitchFamily="34" charset="0"/>
                <a:cs typeface="Arial" charset="0"/>
              </a:rPr>
              <a:t> without any change to purchasing behaviour or customer journey</a:t>
            </a:r>
          </a:p>
          <a:p>
            <a:pPr marL="368002" indent="-368002" fontAlgn="base">
              <a:spcBef>
                <a:spcPts val="455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Opportunity to </a:t>
            </a:r>
            <a:r>
              <a:rPr lang="en-GB" b="1" u="sng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integrate “do good”</a:t>
            </a:r>
            <a:r>
              <a:rPr lang="en-GB" b="1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 </a:t>
            </a:r>
            <a:r>
              <a:rPr lang="en-GB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with everyday purchases and lifestyle</a:t>
            </a:r>
          </a:p>
          <a:p>
            <a:pPr marL="368002" indent="-368002" fontAlgn="base">
              <a:spcBef>
                <a:spcPts val="455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E</a:t>
            </a:r>
            <a:r>
              <a:rPr lang="en-US" kern="1200" dirty="0" err="1">
                <a:solidFill>
                  <a:srgbClr val="FFFFFF"/>
                </a:solidFill>
                <a:latin typeface="Expert Sans Regular"/>
                <a:cs typeface="Arial" charset="0"/>
              </a:rPr>
              <a:t>nables</a:t>
            </a:r>
            <a:r>
              <a:rPr lang="en-US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 customers to explore </a:t>
            </a:r>
            <a:r>
              <a:rPr lang="en-US" b="1" u="sng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meaningful and impactful</a:t>
            </a:r>
            <a:r>
              <a:rPr lang="en-US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 ways to spend spare change</a:t>
            </a:r>
            <a:endParaRPr lang="en-GB" kern="1200" dirty="0">
              <a:solidFill>
                <a:srgbClr val="FFFFFF"/>
              </a:solidFill>
              <a:latin typeface="Expert Sans Regular"/>
              <a:cs typeface="Arial" charset="0"/>
            </a:endParaRPr>
          </a:p>
          <a:p>
            <a:pPr marL="368002" indent="-368002" fontAlgn="base">
              <a:spcBef>
                <a:spcPts val="455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Post MVP, further options such as potential to channel funds toward </a:t>
            </a:r>
            <a:r>
              <a:rPr lang="en-GB" b="1" u="sng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savings and investments</a:t>
            </a:r>
            <a:endParaRPr lang="en-GB" sz="1100" b="1" u="sng" kern="1200" dirty="0">
              <a:solidFill>
                <a:srgbClr val="FFFFFF"/>
              </a:solidFill>
              <a:latin typeface="Expert Sans Regular"/>
              <a:cs typeface="Arial" charset="0"/>
            </a:endParaRPr>
          </a:p>
        </p:txBody>
      </p:sp>
      <p:sp>
        <p:nvSpPr>
          <p:cNvPr id="22" name="Rounded Rectangle 21"/>
          <p:cNvSpPr/>
          <p:nvPr/>
        </p:nvSpPr>
        <p:spPr bwMode="auto">
          <a:xfrm>
            <a:off x="2100529" y="8127897"/>
            <a:ext cx="6575399" cy="1396127"/>
          </a:xfrm>
          <a:prstGeom prst="roundRect">
            <a:avLst/>
          </a:prstGeom>
          <a:solidFill>
            <a:schemeClr val="accent6">
              <a:alpha val="34902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2078132" fontAlgn="base">
              <a:spcBef>
                <a:spcPct val="0"/>
              </a:spcBef>
              <a:spcAft>
                <a:spcPct val="0"/>
              </a:spcAft>
            </a:pPr>
            <a:endParaRPr lang="en-GB" sz="8200" kern="1200" dirty="0">
              <a:solidFill>
                <a:srgbClr val="00AEEF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362322" y="8318822"/>
            <a:ext cx="6147055" cy="9874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8002" indent="-368002" fontAlgn="base">
              <a:spcBef>
                <a:spcPts val="455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2000" kern="1200" dirty="0">
                <a:solidFill>
                  <a:srgbClr val="FFFFFF">
                    <a:lumMod val="50000"/>
                  </a:srgbClr>
                </a:solidFill>
                <a:latin typeface="Expert Sans Regular"/>
                <a:cs typeface="Arial" charset="0"/>
              </a:rPr>
              <a:t>Potential to raise </a:t>
            </a:r>
            <a:r>
              <a:rPr lang="en-GB" sz="2000" b="1" u="sng" kern="1200" dirty="0">
                <a:solidFill>
                  <a:srgbClr val="FFFFFF">
                    <a:lumMod val="50000"/>
                  </a:srgbClr>
                </a:solidFill>
                <a:latin typeface="Expert Sans Regular"/>
                <a:cs typeface="Arial" charset="0"/>
              </a:rPr>
              <a:t>£millions</a:t>
            </a:r>
            <a:r>
              <a:rPr lang="en-GB" sz="2000" kern="1200" dirty="0">
                <a:solidFill>
                  <a:srgbClr val="FFFFFF">
                    <a:lumMod val="50000"/>
                  </a:srgbClr>
                </a:solidFill>
                <a:latin typeface="Expert Sans Regular"/>
                <a:cs typeface="Arial" charset="0"/>
              </a:rPr>
              <a:t> for good causes at scale</a:t>
            </a:r>
          </a:p>
          <a:p>
            <a:pPr marL="368002" indent="-368002" fontAlgn="base">
              <a:spcBef>
                <a:spcPts val="455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2000" kern="1200" dirty="0">
                <a:solidFill>
                  <a:srgbClr val="FFFFFF">
                    <a:lumMod val="50000"/>
                  </a:srgbClr>
                </a:solidFill>
                <a:latin typeface="Expert Sans Regular"/>
                <a:cs typeface="Arial" charset="0"/>
              </a:rPr>
              <a:t>Opportunity to </a:t>
            </a:r>
            <a:r>
              <a:rPr lang="en-GB" sz="2000" b="1" u="sng" kern="1200" dirty="0">
                <a:solidFill>
                  <a:srgbClr val="FFFFFF">
                    <a:lumMod val="50000"/>
                  </a:srgbClr>
                </a:solidFill>
                <a:latin typeface="Expert Sans Regular"/>
                <a:cs typeface="Arial" charset="0"/>
              </a:rPr>
              <a:t>develop relationships </a:t>
            </a:r>
            <a:r>
              <a:rPr lang="en-GB" sz="2000" kern="1200" dirty="0">
                <a:solidFill>
                  <a:srgbClr val="FFFFFF">
                    <a:lumMod val="50000"/>
                  </a:srgbClr>
                </a:solidFill>
                <a:latin typeface="Expert Sans Regular"/>
                <a:cs typeface="Arial" charset="0"/>
              </a:rPr>
              <a:t>with customers and Barclays for further engagements</a:t>
            </a:r>
          </a:p>
        </p:txBody>
      </p:sp>
      <p:sp>
        <p:nvSpPr>
          <p:cNvPr id="24" name="Rounded Rectangle 23"/>
          <p:cNvSpPr/>
          <p:nvPr/>
        </p:nvSpPr>
        <p:spPr bwMode="auto">
          <a:xfrm>
            <a:off x="16812842" y="8153249"/>
            <a:ext cx="6249920" cy="1396127"/>
          </a:xfrm>
          <a:prstGeom prst="roundRect">
            <a:avLst/>
          </a:prstGeom>
          <a:solidFill>
            <a:schemeClr val="bg2">
              <a:lumMod val="60000"/>
              <a:lumOff val="40000"/>
              <a:alpha val="34902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2078132" fontAlgn="base">
              <a:spcBef>
                <a:spcPct val="0"/>
              </a:spcBef>
              <a:spcAft>
                <a:spcPct val="0"/>
              </a:spcAft>
            </a:pPr>
            <a:endParaRPr lang="en-GB" sz="8200" kern="1200">
              <a:solidFill>
                <a:srgbClr val="00AEEF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6832938" y="8442176"/>
            <a:ext cx="6181849" cy="7745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8002" indent="-368002" fontAlgn="base">
              <a:spcBef>
                <a:spcPts val="455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kern="1200" dirty="0">
                <a:solidFill>
                  <a:srgbClr val="FFFFFF">
                    <a:lumMod val="50000"/>
                  </a:srgbClr>
                </a:solidFill>
                <a:latin typeface="Expert Sans Regular" pitchFamily="34" charset="0"/>
                <a:cs typeface="Arial" charset="0"/>
              </a:rPr>
              <a:t>Opportunity to </a:t>
            </a:r>
            <a:r>
              <a:rPr lang="en-GB" b="1" u="sng" kern="1200" dirty="0">
                <a:solidFill>
                  <a:srgbClr val="FFFFFF">
                    <a:lumMod val="50000"/>
                  </a:srgbClr>
                </a:solidFill>
                <a:latin typeface="Expert Sans Regular" pitchFamily="34" charset="0"/>
                <a:cs typeface="Arial" charset="0"/>
              </a:rPr>
              <a:t>delight customers</a:t>
            </a:r>
            <a:r>
              <a:rPr lang="en-GB" kern="1200" dirty="0">
                <a:solidFill>
                  <a:srgbClr val="FFFFFF">
                    <a:lumMod val="50000"/>
                  </a:srgbClr>
                </a:solidFill>
                <a:latin typeface="Expert Sans Regular" pitchFamily="34" charset="0"/>
                <a:cs typeface="Arial" charset="0"/>
              </a:rPr>
              <a:t> whilst achieving o</a:t>
            </a:r>
            <a:r>
              <a:rPr lang="en-GB" kern="1200" dirty="0">
                <a:solidFill>
                  <a:srgbClr val="FFFFFF">
                    <a:lumMod val="50000"/>
                  </a:srgbClr>
                </a:solidFill>
                <a:latin typeface="Expert Sans Regular"/>
                <a:cs typeface="Arial" charset="0"/>
              </a:rPr>
              <a:t>ur </a:t>
            </a:r>
            <a:r>
              <a:rPr lang="en-GB" b="1" u="sng" kern="1200" dirty="0">
                <a:solidFill>
                  <a:srgbClr val="FFFFFF">
                    <a:lumMod val="50000"/>
                  </a:srgbClr>
                </a:solidFill>
                <a:latin typeface="Expert Sans Regular"/>
                <a:cs typeface="Arial" charset="0"/>
              </a:rPr>
              <a:t>5C’s objectives</a:t>
            </a:r>
          </a:p>
          <a:p>
            <a:pPr marL="368002" indent="-368002" fontAlgn="base">
              <a:spcBef>
                <a:spcPts val="455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kern="1200" dirty="0">
                <a:solidFill>
                  <a:srgbClr val="FFFFFF">
                    <a:lumMod val="50000"/>
                  </a:srgbClr>
                </a:solidFill>
                <a:latin typeface="Expert Sans Regular"/>
                <a:cs typeface="Arial" charset="0"/>
              </a:rPr>
              <a:t>In particular, potential to drive </a:t>
            </a:r>
            <a:r>
              <a:rPr lang="en-GB" b="1" u="sng" kern="1200" dirty="0">
                <a:solidFill>
                  <a:srgbClr val="FFFFFF">
                    <a:lumMod val="50000"/>
                  </a:srgbClr>
                </a:solidFill>
                <a:latin typeface="Expert Sans Regular"/>
                <a:cs typeface="Arial" charset="0"/>
              </a:rPr>
              <a:t>key financial benefits at minimal cost</a:t>
            </a:r>
          </a:p>
          <a:p>
            <a:pPr marL="368002" indent="-368002" fontAlgn="base">
              <a:spcBef>
                <a:spcPts val="455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b="1" u="sng" kern="1200" dirty="0">
                <a:solidFill>
                  <a:srgbClr val="FFFFFF">
                    <a:lumMod val="50000"/>
                  </a:srgbClr>
                </a:solidFill>
                <a:latin typeface="Expert Sans Regular"/>
                <a:cs typeface="Arial" charset="0"/>
              </a:rPr>
              <a:t>Millennial colleague retention</a:t>
            </a:r>
            <a:endParaRPr lang="en-GB" kern="1200" dirty="0">
              <a:solidFill>
                <a:srgbClr val="FFFFFF">
                  <a:lumMod val="50000"/>
                </a:srgbClr>
              </a:solidFill>
              <a:latin typeface="Expert Sans Regular"/>
              <a:cs typeface="Arial" charset="0"/>
            </a:endParaRPr>
          </a:p>
        </p:txBody>
      </p:sp>
      <p:sp>
        <p:nvSpPr>
          <p:cNvPr id="29" name="Rounded Rectangle 28"/>
          <p:cNvSpPr/>
          <p:nvPr/>
        </p:nvSpPr>
        <p:spPr bwMode="auto">
          <a:xfrm rot="1043410">
            <a:off x="7516341" y="7635671"/>
            <a:ext cx="1409233" cy="432414"/>
          </a:xfrm>
          <a:prstGeom prst="roundRect">
            <a:avLst/>
          </a:prstGeom>
          <a:solidFill>
            <a:srgbClr val="00B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078132" fontAlgn="base">
              <a:spcBef>
                <a:spcPct val="0"/>
              </a:spcBef>
              <a:spcAft>
                <a:spcPct val="0"/>
              </a:spcAft>
            </a:pPr>
            <a:r>
              <a:rPr lang="en-GB" sz="2700" b="1" kern="1200" dirty="0">
                <a:solidFill>
                  <a:srgbClr val="FFFFFF"/>
                </a:solidFill>
                <a:latin typeface="Arial" pitchFamily="34" charset="0"/>
                <a:cs typeface="Arial" charset="0"/>
              </a:rPr>
              <a:t>WIN</a:t>
            </a:r>
            <a:endParaRPr lang="en-GB" b="1" kern="1200" dirty="0">
              <a:solidFill>
                <a:srgbClr val="FFFFFF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30" name="Rounded Rectangle 29"/>
          <p:cNvSpPr/>
          <p:nvPr/>
        </p:nvSpPr>
        <p:spPr bwMode="auto">
          <a:xfrm rot="1043410">
            <a:off x="21957845" y="4215257"/>
            <a:ext cx="1409233" cy="432414"/>
          </a:xfrm>
          <a:prstGeom prst="roundRect">
            <a:avLst/>
          </a:prstGeom>
          <a:solidFill>
            <a:srgbClr val="00B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078132" fontAlgn="base">
              <a:spcBef>
                <a:spcPct val="0"/>
              </a:spcBef>
              <a:spcAft>
                <a:spcPct val="0"/>
              </a:spcAft>
            </a:pPr>
            <a:r>
              <a:rPr lang="en-GB" sz="2700" b="1" kern="1200" dirty="0">
                <a:solidFill>
                  <a:srgbClr val="FFFFFF"/>
                </a:solidFill>
                <a:latin typeface="Arial" pitchFamily="34" charset="0"/>
                <a:cs typeface="Arial" charset="0"/>
              </a:rPr>
              <a:t>WIN</a:t>
            </a:r>
            <a:endParaRPr lang="en-GB" b="1" kern="1200" dirty="0">
              <a:solidFill>
                <a:srgbClr val="FFFFFF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31" name="Rounded Rectangle 30"/>
          <p:cNvSpPr/>
          <p:nvPr/>
        </p:nvSpPr>
        <p:spPr bwMode="auto">
          <a:xfrm rot="1043410">
            <a:off x="22039955" y="7661219"/>
            <a:ext cx="1409233" cy="432414"/>
          </a:xfrm>
          <a:prstGeom prst="roundRect">
            <a:avLst/>
          </a:prstGeom>
          <a:solidFill>
            <a:srgbClr val="00B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2078132" fontAlgn="base">
              <a:spcBef>
                <a:spcPct val="0"/>
              </a:spcBef>
              <a:spcAft>
                <a:spcPct val="0"/>
              </a:spcAft>
            </a:pPr>
            <a:r>
              <a:rPr lang="en-GB" sz="2700" b="1" kern="1200" dirty="0">
                <a:solidFill>
                  <a:srgbClr val="FFFFFF"/>
                </a:solidFill>
                <a:latin typeface="Arial" pitchFamily="34" charset="0"/>
                <a:cs typeface="Arial" charset="0"/>
              </a:rPr>
              <a:t>WIN</a:t>
            </a:r>
            <a:endParaRPr lang="en-GB" b="1" kern="1200" dirty="0">
              <a:solidFill>
                <a:srgbClr val="FFFFFF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6370" y="7187833"/>
            <a:ext cx="1308404" cy="1000682"/>
          </a:xfrm>
          <a:prstGeom prst="rect">
            <a:avLst/>
          </a:prstGeom>
        </p:spPr>
      </p:pic>
      <p:cxnSp>
        <p:nvCxnSpPr>
          <p:cNvPr id="33" name="Straight Connector 32"/>
          <p:cNvCxnSpPr/>
          <p:nvPr/>
        </p:nvCxnSpPr>
        <p:spPr bwMode="auto">
          <a:xfrm>
            <a:off x="2037315" y="10322604"/>
            <a:ext cx="20824615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35" name="Picture 14" descr="http://www.clipartbest.com/cliparts/9iR/Rqn/9iRRqnxXT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287" y="10752459"/>
            <a:ext cx="1602267" cy="1301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Shape 37"/>
          <p:cNvSpPr/>
          <p:nvPr/>
        </p:nvSpPr>
        <p:spPr>
          <a:xfrm>
            <a:off x="13163340" y="10457017"/>
            <a:ext cx="9318966" cy="976382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bg2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9" name="Rectangle 8"/>
          <p:cNvSpPr>
            <a:spLocks noChangeArrowheads="1"/>
          </p:cNvSpPr>
          <p:nvPr/>
        </p:nvSpPr>
        <p:spPr bwMode="auto">
          <a:xfrm>
            <a:off x="2159407" y="10506802"/>
            <a:ext cx="9366326" cy="1547496"/>
          </a:xfrm>
          <a:custGeom>
            <a:avLst/>
            <a:gdLst>
              <a:gd name="connsiteX0" fmla="*/ 0 w 5220686"/>
              <a:gd name="connsiteY0" fmla="*/ 128818 h 772891"/>
              <a:gd name="connsiteX1" fmla="*/ 128818 w 5220686"/>
              <a:gd name="connsiteY1" fmla="*/ 0 h 772891"/>
              <a:gd name="connsiteX2" fmla="*/ 3045400 w 5220686"/>
              <a:gd name="connsiteY2" fmla="*/ 0 h 772891"/>
              <a:gd name="connsiteX3" fmla="*/ 3045400 w 5220686"/>
              <a:gd name="connsiteY3" fmla="*/ 0 h 772891"/>
              <a:gd name="connsiteX4" fmla="*/ 4350572 w 5220686"/>
              <a:gd name="connsiteY4" fmla="*/ 0 h 772891"/>
              <a:gd name="connsiteX5" fmla="*/ 5091868 w 5220686"/>
              <a:gd name="connsiteY5" fmla="*/ 0 h 772891"/>
              <a:gd name="connsiteX6" fmla="*/ 5220686 w 5220686"/>
              <a:gd name="connsiteY6" fmla="*/ 128818 h 772891"/>
              <a:gd name="connsiteX7" fmla="*/ 5220686 w 5220686"/>
              <a:gd name="connsiteY7" fmla="*/ 128815 h 772891"/>
              <a:gd name="connsiteX8" fmla="*/ 5399181 w 5220686"/>
              <a:gd name="connsiteY8" fmla="*/ 328231 h 772891"/>
              <a:gd name="connsiteX9" fmla="*/ 5220686 w 5220686"/>
              <a:gd name="connsiteY9" fmla="*/ 322038 h 772891"/>
              <a:gd name="connsiteX10" fmla="*/ 5220686 w 5220686"/>
              <a:gd name="connsiteY10" fmla="*/ 644073 h 772891"/>
              <a:gd name="connsiteX11" fmla="*/ 5091868 w 5220686"/>
              <a:gd name="connsiteY11" fmla="*/ 772891 h 772891"/>
              <a:gd name="connsiteX12" fmla="*/ 4350572 w 5220686"/>
              <a:gd name="connsiteY12" fmla="*/ 772891 h 772891"/>
              <a:gd name="connsiteX13" fmla="*/ 3045400 w 5220686"/>
              <a:gd name="connsiteY13" fmla="*/ 772891 h 772891"/>
              <a:gd name="connsiteX14" fmla="*/ 3045400 w 5220686"/>
              <a:gd name="connsiteY14" fmla="*/ 772891 h 772891"/>
              <a:gd name="connsiteX15" fmla="*/ 128818 w 5220686"/>
              <a:gd name="connsiteY15" fmla="*/ 772891 h 772891"/>
              <a:gd name="connsiteX16" fmla="*/ 0 w 5220686"/>
              <a:gd name="connsiteY16" fmla="*/ 644073 h 772891"/>
              <a:gd name="connsiteX17" fmla="*/ 0 w 5220686"/>
              <a:gd name="connsiteY17" fmla="*/ 322038 h 772891"/>
              <a:gd name="connsiteX18" fmla="*/ 0 w 5220686"/>
              <a:gd name="connsiteY18" fmla="*/ 128815 h 772891"/>
              <a:gd name="connsiteX19" fmla="*/ 0 w 5220686"/>
              <a:gd name="connsiteY19" fmla="*/ 128815 h 772891"/>
              <a:gd name="connsiteX20" fmla="*/ 0 w 5220686"/>
              <a:gd name="connsiteY20" fmla="*/ 128818 h 772891"/>
              <a:gd name="connsiteX0" fmla="*/ 114300 w 5513481"/>
              <a:gd name="connsiteY0" fmla="*/ 128818 h 776775"/>
              <a:gd name="connsiteX1" fmla="*/ 243118 w 5513481"/>
              <a:gd name="connsiteY1" fmla="*/ 0 h 776775"/>
              <a:gd name="connsiteX2" fmla="*/ 3159700 w 5513481"/>
              <a:gd name="connsiteY2" fmla="*/ 0 h 776775"/>
              <a:gd name="connsiteX3" fmla="*/ 3159700 w 5513481"/>
              <a:gd name="connsiteY3" fmla="*/ 0 h 776775"/>
              <a:gd name="connsiteX4" fmla="*/ 4464872 w 5513481"/>
              <a:gd name="connsiteY4" fmla="*/ 0 h 776775"/>
              <a:gd name="connsiteX5" fmla="*/ 5206168 w 5513481"/>
              <a:gd name="connsiteY5" fmla="*/ 0 h 776775"/>
              <a:gd name="connsiteX6" fmla="*/ 5334986 w 5513481"/>
              <a:gd name="connsiteY6" fmla="*/ 128818 h 776775"/>
              <a:gd name="connsiteX7" fmla="*/ 5334986 w 5513481"/>
              <a:gd name="connsiteY7" fmla="*/ 128815 h 776775"/>
              <a:gd name="connsiteX8" fmla="*/ 5513481 w 5513481"/>
              <a:gd name="connsiteY8" fmla="*/ 328231 h 776775"/>
              <a:gd name="connsiteX9" fmla="*/ 5334986 w 5513481"/>
              <a:gd name="connsiteY9" fmla="*/ 322038 h 776775"/>
              <a:gd name="connsiteX10" fmla="*/ 5334986 w 5513481"/>
              <a:gd name="connsiteY10" fmla="*/ 644073 h 776775"/>
              <a:gd name="connsiteX11" fmla="*/ 5206168 w 5513481"/>
              <a:gd name="connsiteY11" fmla="*/ 772891 h 776775"/>
              <a:gd name="connsiteX12" fmla="*/ 4464872 w 5513481"/>
              <a:gd name="connsiteY12" fmla="*/ 772891 h 776775"/>
              <a:gd name="connsiteX13" fmla="*/ 3159700 w 5513481"/>
              <a:gd name="connsiteY13" fmla="*/ 772891 h 776775"/>
              <a:gd name="connsiteX14" fmla="*/ 3159700 w 5513481"/>
              <a:gd name="connsiteY14" fmla="*/ 772891 h 776775"/>
              <a:gd name="connsiteX15" fmla="*/ 243118 w 5513481"/>
              <a:gd name="connsiteY15" fmla="*/ 772891 h 776775"/>
              <a:gd name="connsiteX16" fmla="*/ 0 w 5513481"/>
              <a:gd name="connsiteY16" fmla="*/ 725716 h 776775"/>
              <a:gd name="connsiteX17" fmla="*/ 114300 w 5513481"/>
              <a:gd name="connsiteY17" fmla="*/ 322038 h 776775"/>
              <a:gd name="connsiteX18" fmla="*/ 114300 w 5513481"/>
              <a:gd name="connsiteY18" fmla="*/ 128815 h 776775"/>
              <a:gd name="connsiteX19" fmla="*/ 114300 w 5513481"/>
              <a:gd name="connsiteY19" fmla="*/ 128815 h 776775"/>
              <a:gd name="connsiteX20" fmla="*/ 114300 w 5513481"/>
              <a:gd name="connsiteY20" fmla="*/ 128818 h 776775"/>
              <a:gd name="connsiteX0" fmla="*/ 114300 w 5513481"/>
              <a:gd name="connsiteY0" fmla="*/ 128818 h 776775"/>
              <a:gd name="connsiteX1" fmla="*/ 243118 w 5513481"/>
              <a:gd name="connsiteY1" fmla="*/ 0 h 776775"/>
              <a:gd name="connsiteX2" fmla="*/ 3159700 w 5513481"/>
              <a:gd name="connsiteY2" fmla="*/ 0 h 776775"/>
              <a:gd name="connsiteX3" fmla="*/ 3159700 w 5513481"/>
              <a:gd name="connsiteY3" fmla="*/ 0 h 776775"/>
              <a:gd name="connsiteX4" fmla="*/ 4464872 w 5513481"/>
              <a:gd name="connsiteY4" fmla="*/ 0 h 776775"/>
              <a:gd name="connsiteX5" fmla="*/ 5206168 w 5513481"/>
              <a:gd name="connsiteY5" fmla="*/ 0 h 776775"/>
              <a:gd name="connsiteX6" fmla="*/ 5334986 w 5513481"/>
              <a:gd name="connsiteY6" fmla="*/ 128818 h 776775"/>
              <a:gd name="connsiteX7" fmla="*/ 5334986 w 5513481"/>
              <a:gd name="connsiteY7" fmla="*/ 128815 h 776775"/>
              <a:gd name="connsiteX8" fmla="*/ 5513481 w 5513481"/>
              <a:gd name="connsiteY8" fmla="*/ 328231 h 776775"/>
              <a:gd name="connsiteX9" fmla="*/ 5334986 w 5513481"/>
              <a:gd name="connsiteY9" fmla="*/ 322038 h 776775"/>
              <a:gd name="connsiteX10" fmla="*/ 5334986 w 5513481"/>
              <a:gd name="connsiteY10" fmla="*/ 644073 h 776775"/>
              <a:gd name="connsiteX11" fmla="*/ 5206168 w 5513481"/>
              <a:gd name="connsiteY11" fmla="*/ 772891 h 776775"/>
              <a:gd name="connsiteX12" fmla="*/ 4464872 w 5513481"/>
              <a:gd name="connsiteY12" fmla="*/ 772891 h 776775"/>
              <a:gd name="connsiteX13" fmla="*/ 3159700 w 5513481"/>
              <a:gd name="connsiteY13" fmla="*/ 772891 h 776775"/>
              <a:gd name="connsiteX14" fmla="*/ 3159700 w 5513481"/>
              <a:gd name="connsiteY14" fmla="*/ 772891 h 776775"/>
              <a:gd name="connsiteX15" fmla="*/ 243118 w 5513481"/>
              <a:gd name="connsiteY15" fmla="*/ 772891 h 776775"/>
              <a:gd name="connsiteX16" fmla="*/ 0 w 5513481"/>
              <a:gd name="connsiteY16" fmla="*/ 725716 h 776775"/>
              <a:gd name="connsiteX17" fmla="*/ 122465 w 5513481"/>
              <a:gd name="connsiteY17" fmla="*/ 509817 h 776775"/>
              <a:gd name="connsiteX18" fmla="*/ 114300 w 5513481"/>
              <a:gd name="connsiteY18" fmla="*/ 128815 h 776775"/>
              <a:gd name="connsiteX19" fmla="*/ 114300 w 5513481"/>
              <a:gd name="connsiteY19" fmla="*/ 128815 h 776775"/>
              <a:gd name="connsiteX20" fmla="*/ 114300 w 5513481"/>
              <a:gd name="connsiteY20" fmla="*/ 128818 h 776775"/>
              <a:gd name="connsiteX0" fmla="*/ 114300 w 5334986"/>
              <a:gd name="connsiteY0" fmla="*/ 128818 h 776775"/>
              <a:gd name="connsiteX1" fmla="*/ 243118 w 5334986"/>
              <a:gd name="connsiteY1" fmla="*/ 0 h 776775"/>
              <a:gd name="connsiteX2" fmla="*/ 3159700 w 5334986"/>
              <a:gd name="connsiteY2" fmla="*/ 0 h 776775"/>
              <a:gd name="connsiteX3" fmla="*/ 3159700 w 5334986"/>
              <a:gd name="connsiteY3" fmla="*/ 0 h 776775"/>
              <a:gd name="connsiteX4" fmla="*/ 4464872 w 5334986"/>
              <a:gd name="connsiteY4" fmla="*/ 0 h 776775"/>
              <a:gd name="connsiteX5" fmla="*/ 5206168 w 5334986"/>
              <a:gd name="connsiteY5" fmla="*/ 0 h 776775"/>
              <a:gd name="connsiteX6" fmla="*/ 5334986 w 5334986"/>
              <a:gd name="connsiteY6" fmla="*/ 128818 h 776775"/>
              <a:gd name="connsiteX7" fmla="*/ 5334986 w 5334986"/>
              <a:gd name="connsiteY7" fmla="*/ 128815 h 776775"/>
              <a:gd name="connsiteX8" fmla="*/ 5333867 w 5334986"/>
              <a:gd name="connsiteY8" fmla="*/ 328231 h 776775"/>
              <a:gd name="connsiteX9" fmla="*/ 5334986 w 5334986"/>
              <a:gd name="connsiteY9" fmla="*/ 322038 h 776775"/>
              <a:gd name="connsiteX10" fmla="*/ 5334986 w 5334986"/>
              <a:gd name="connsiteY10" fmla="*/ 644073 h 776775"/>
              <a:gd name="connsiteX11" fmla="*/ 5206168 w 5334986"/>
              <a:gd name="connsiteY11" fmla="*/ 772891 h 776775"/>
              <a:gd name="connsiteX12" fmla="*/ 4464872 w 5334986"/>
              <a:gd name="connsiteY12" fmla="*/ 772891 h 776775"/>
              <a:gd name="connsiteX13" fmla="*/ 3159700 w 5334986"/>
              <a:gd name="connsiteY13" fmla="*/ 772891 h 776775"/>
              <a:gd name="connsiteX14" fmla="*/ 3159700 w 5334986"/>
              <a:gd name="connsiteY14" fmla="*/ 772891 h 776775"/>
              <a:gd name="connsiteX15" fmla="*/ 243118 w 5334986"/>
              <a:gd name="connsiteY15" fmla="*/ 772891 h 776775"/>
              <a:gd name="connsiteX16" fmla="*/ 0 w 5334986"/>
              <a:gd name="connsiteY16" fmla="*/ 725716 h 776775"/>
              <a:gd name="connsiteX17" fmla="*/ 122465 w 5334986"/>
              <a:gd name="connsiteY17" fmla="*/ 509817 h 776775"/>
              <a:gd name="connsiteX18" fmla="*/ 114300 w 5334986"/>
              <a:gd name="connsiteY18" fmla="*/ 128815 h 776775"/>
              <a:gd name="connsiteX19" fmla="*/ 114300 w 5334986"/>
              <a:gd name="connsiteY19" fmla="*/ 128815 h 776775"/>
              <a:gd name="connsiteX20" fmla="*/ 114300 w 5334986"/>
              <a:gd name="connsiteY20" fmla="*/ 128818 h 776775"/>
              <a:gd name="connsiteX0" fmla="*/ 122478 w 5343164"/>
              <a:gd name="connsiteY0" fmla="*/ 128818 h 789007"/>
              <a:gd name="connsiteX1" fmla="*/ 251296 w 5343164"/>
              <a:gd name="connsiteY1" fmla="*/ 0 h 789007"/>
              <a:gd name="connsiteX2" fmla="*/ 3167878 w 5343164"/>
              <a:gd name="connsiteY2" fmla="*/ 0 h 789007"/>
              <a:gd name="connsiteX3" fmla="*/ 3167878 w 5343164"/>
              <a:gd name="connsiteY3" fmla="*/ 0 h 789007"/>
              <a:gd name="connsiteX4" fmla="*/ 4473050 w 5343164"/>
              <a:gd name="connsiteY4" fmla="*/ 0 h 789007"/>
              <a:gd name="connsiteX5" fmla="*/ 5214346 w 5343164"/>
              <a:gd name="connsiteY5" fmla="*/ 0 h 789007"/>
              <a:gd name="connsiteX6" fmla="*/ 5343164 w 5343164"/>
              <a:gd name="connsiteY6" fmla="*/ 128818 h 789007"/>
              <a:gd name="connsiteX7" fmla="*/ 5343164 w 5343164"/>
              <a:gd name="connsiteY7" fmla="*/ 128815 h 789007"/>
              <a:gd name="connsiteX8" fmla="*/ 5342045 w 5343164"/>
              <a:gd name="connsiteY8" fmla="*/ 328231 h 789007"/>
              <a:gd name="connsiteX9" fmla="*/ 5343164 w 5343164"/>
              <a:gd name="connsiteY9" fmla="*/ 322038 h 789007"/>
              <a:gd name="connsiteX10" fmla="*/ 5343164 w 5343164"/>
              <a:gd name="connsiteY10" fmla="*/ 644073 h 789007"/>
              <a:gd name="connsiteX11" fmla="*/ 5214346 w 5343164"/>
              <a:gd name="connsiteY11" fmla="*/ 772891 h 789007"/>
              <a:gd name="connsiteX12" fmla="*/ 4473050 w 5343164"/>
              <a:gd name="connsiteY12" fmla="*/ 772891 h 789007"/>
              <a:gd name="connsiteX13" fmla="*/ 3167878 w 5343164"/>
              <a:gd name="connsiteY13" fmla="*/ 772891 h 789007"/>
              <a:gd name="connsiteX14" fmla="*/ 3167878 w 5343164"/>
              <a:gd name="connsiteY14" fmla="*/ 772891 h 789007"/>
              <a:gd name="connsiteX15" fmla="*/ 251296 w 5343164"/>
              <a:gd name="connsiteY15" fmla="*/ 772891 h 789007"/>
              <a:gd name="connsiteX16" fmla="*/ 0 w 5343164"/>
              <a:gd name="connsiteY16" fmla="*/ 750208 h 789007"/>
              <a:gd name="connsiteX17" fmla="*/ 130643 w 5343164"/>
              <a:gd name="connsiteY17" fmla="*/ 509817 h 789007"/>
              <a:gd name="connsiteX18" fmla="*/ 122478 w 5343164"/>
              <a:gd name="connsiteY18" fmla="*/ 128815 h 789007"/>
              <a:gd name="connsiteX19" fmla="*/ 122478 w 5343164"/>
              <a:gd name="connsiteY19" fmla="*/ 128815 h 789007"/>
              <a:gd name="connsiteX20" fmla="*/ 122478 w 5343164"/>
              <a:gd name="connsiteY20" fmla="*/ 128818 h 789007"/>
              <a:gd name="connsiteX0" fmla="*/ 122478 w 5343164"/>
              <a:gd name="connsiteY0" fmla="*/ 128818 h 773748"/>
              <a:gd name="connsiteX1" fmla="*/ 251296 w 5343164"/>
              <a:gd name="connsiteY1" fmla="*/ 0 h 773748"/>
              <a:gd name="connsiteX2" fmla="*/ 3167878 w 5343164"/>
              <a:gd name="connsiteY2" fmla="*/ 0 h 773748"/>
              <a:gd name="connsiteX3" fmla="*/ 3167878 w 5343164"/>
              <a:gd name="connsiteY3" fmla="*/ 0 h 773748"/>
              <a:gd name="connsiteX4" fmla="*/ 4473050 w 5343164"/>
              <a:gd name="connsiteY4" fmla="*/ 0 h 773748"/>
              <a:gd name="connsiteX5" fmla="*/ 5214346 w 5343164"/>
              <a:gd name="connsiteY5" fmla="*/ 0 h 773748"/>
              <a:gd name="connsiteX6" fmla="*/ 5343164 w 5343164"/>
              <a:gd name="connsiteY6" fmla="*/ 128818 h 773748"/>
              <a:gd name="connsiteX7" fmla="*/ 5343164 w 5343164"/>
              <a:gd name="connsiteY7" fmla="*/ 128815 h 773748"/>
              <a:gd name="connsiteX8" fmla="*/ 5342045 w 5343164"/>
              <a:gd name="connsiteY8" fmla="*/ 328231 h 773748"/>
              <a:gd name="connsiteX9" fmla="*/ 5343164 w 5343164"/>
              <a:gd name="connsiteY9" fmla="*/ 322038 h 773748"/>
              <a:gd name="connsiteX10" fmla="*/ 5343164 w 5343164"/>
              <a:gd name="connsiteY10" fmla="*/ 644073 h 773748"/>
              <a:gd name="connsiteX11" fmla="*/ 5214346 w 5343164"/>
              <a:gd name="connsiteY11" fmla="*/ 772891 h 773748"/>
              <a:gd name="connsiteX12" fmla="*/ 4473050 w 5343164"/>
              <a:gd name="connsiteY12" fmla="*/ 772891 h 773748"/>
              <a:gd name="connsiteX13" fmla="*/ 3167878 w 5343164"/>
              <a:gd name="connsiteY13" fmla="*/ 772891 h 773748"/>
              <a:gd name="connsiteX14" fmla="*/ 3167878 w 5343164"/>
              <a:gd name="connsiteY14" fmla="*/ 772891 h 773748"/>
              <a:gd name="connsiteX15" fmla="*/ 251296 w 5343164"/>
              <a:gd name="connsiteY15" fmla="*/ 772891 h 773748"/>
              <a:gd name="connsiteX16" fmla="*/ 0 w 5343164"/>
              <a:gd name="connsiteY16" fmla="*/ 750208 h 773748"/>
              <a:gd name="connsiteX17" fmla="*/ 130643 w 5343164"/>
              <a:gd name="connsiteY17" fmla="*/ 509817 h 773748"/>
              <a:gd name="connsiteX18" fmla="*/ 122478 w 5343164"/>
              <a:gd name="connsiteY18" fmla="*/ 128815 h 773748"/>
              <a:gd name="connsiteX19" fmla="*/ 122478 w 5343164"/>
              <a:gd name="connsiteY19" fmla="*/ 128815 h 773748"/>
              <a:gd name="connsiteX20" fmla="*/ 122478 w 5343164"/>
              <a:gd name="connsiteY20" fmla="*/ 128818 h 773748"/>
              <a:gd name="connsiteX0" fmla="*/ 122478 w 5343164"/>
              <a:gd name="connsiteY0" fmla="*/ 128818 h 773748"/>
              <a:gd name="connsiteX1" fmla="*/ 251296 w 5343164"/>
              <a:gd name="connsiteY1" fmla="*/ 0 h 773748"/>
              <a:gd name="connsiteX2" fmla="*/ 3167878 w 5343164"/>
              <a:gd name="connsiteY2" fmla="*/ 0 h 773748"/>
              <a:gd name="connsiteX3" fmla="*/ 3167878 w 5343164"/>
              <a:gd name="connsiteY3" fmla="*/ 0 h 773748"/>
              <a:gd name="connsiteX4" fmla="*/ 4473050 w 5343164"/>
              <a:gd name="connsiteY4" fmla="*/ 0 h 773748"/>
              <a:gd name="connsiteX5" fmla="*/ 5214346 w 5343164"/>
              <a:gd name="connsiteY5" fmla="*/ 0 h 773748"/>
              <a:gd name="connsiteX6" fmla="*/ 5343164 w 5343164"/>
              <a:gd name="connsiteY6" fmla="*/ 128818 h 773748"/>
              <a:gd name="connsiteX7" fmla="*/ 5343164 w 5343164"/>
              <a:gd name="connsiteY7" fmla="*/ 128815 h 773748"/>
              <a:gd name="connsiteX8" fmla="*/ 5342045 w 5343164"/>
              <a:gd name="connsiteY8" fmla="*/ 328231 h 773748"/>
              <a:gd name="connsiteX9" fmla="*/ 5343164 w 5343164"/>
              <a:gd name="connsiteY9" fmla="*/ 322038 h 773748"/>
              <a:gd name="connsiteX10" fmla="*/ 5343164 w 5343164"/>
              <a:gd name="connsiteY10" fmla="*/ 644073 h 773748"/>
              <a:gd name="connsiteX11" fmla="*/ 5214346 w 5343164"/>
              <a:gd name="connsiteY11" fmla="*/ 772891 h 773748"/>
              <a:gd name="connsiteX12" fmla="*/ 4473050 w 5343164"/>
              <a:gd name="connsiteY12" fmla="*/ 772891 h 773748"/>
              <a:gd name="connsiteX13" fmla="*/ 3167878 w 5343164"/>
              <a:gd name="connsiteY13" fmla="*/ 772891 h 773748"/>
              <a:gd name="connsiteX14" fmla="*/ 3167878 w 5343164"/>
              <a:gd name="connsiteY14" fmla="*/ 772891 h 773748"/>
              <a:gd name="connsiteX15" fmla="*/ 251296 w 5343164"/>
              <a:gd name="connsiteY15" fmla="*/ 772891 h 773748"/>
              <a:gd name="connsiteX16" fmla="*/ 0 w 5343164"/>
              <a:gd name="connsiteY16" fmla="*/ 750208 h 773748"/>
              <a:gd name="connsiteX17" fmla="*/ 130643 w 5343164"/>
              <a:gd name="connsiteY17" fmla="*/ 648610 h 773748"/>
              <a:gd name="connsiteX18" fmla="*/ 122478 w 5343164"/>
              <a:gd name="connsiteY18" fmla="*/ 128815 h 773748"/>
              <a:gd name="connsiteX19" fmla="*/ 122478 w 5343164"/>
              <a:gd name="connsiteY19" fmla="*/ 128815 h 773748"/>
              <a:gd name="connsiteX20" fmla="*/ 122478 w 5343164"/>
              <a:gd name="connsiteY20" fmla="*/ 128818 h 773748"/>
              <a:gd name="connsiteX0" fmla="*/ 0 w 5220686"/>
              <a:gd name="connsiteY0" fmla="*/ 128818 h 773748"/>
              <a:gd name="connsiteX1" fmla="*/ 128818 w 5220686"/>
              <a:gd name="connsiteY1" fmla="*/ 0 h 773748"/>
              <a:gd name="connsiteX2" fmla="*/ 3045400 w 5220686"/>
              <a:gd name="connsiteY2" fmla="*/ 0 h 773748"/>
              <a:gd name="connsiteX3" fmla="*/ 3045400 w 5220686"/>
              <a:gd name="connsiteY3" fmla="*/ 0 h 773748"/>
              <a:gd name="connsiteX4" fmla="*/ 4350572 w 5220686"/>
              <a:gd name="connsiteY4" fmla="*/ 0 h 773748"/>
              <a:gd name="connsiteX5" fmla="*/ 5091868 w 5220686"/>
              <a:gd name="connsiteY5" fmla="*/ 0 h 773748"/>
              <a:gd name="connsiteX6" fmla="*/ 5220686 w 5220686"/>
              <a:gd name="connsiteY6" fmla="*/ 128818 h 773748"/>
              <a:gd name="connsiteX7" fmla="*/ 5220686 w 5220686"/>
              <a:gd name="connsiteY7" fmla="*/ 128815 h 773748"/>
              <a:gd name="connsiteX8" fmla="*/ 5219567 w 5220686"/>
              <a:gd name="connsiteY8" fmla="*/ 328231 h 773748"/>
              <a:gd name="connsiteX9" fmla="*/ 5220686 w 5220686"/>
              <a:gd name="connsiteY9" fmla="*/ 322038 h 773748"/>
              <a:gd name="connsiteX10" fmla="*/ 5220686 w 5220686"/>
              <a:gd name="connsiteY10" fmla="*/ 644073 h 773748"/>
              <a:gd name="connsiteX11" fmla="*/ 5091868 w 5220686"/>
              <a:gd name="connsiteY11" fmla="*/ 772891 h 773748"/>
              <a:gd name="connsiteX12" fmla="*/ 4350572 w 5220686"/>
              <a:gd name="connsiteY12" fmla="*/ 772891 h 773748"/>
              <a:gd name="connsiteX13" fmla="*/ 3045400 w 5220686"/>
              <a:gd name="connsiteY13" fmla="*/ 772891 h 773748"/>
              <a:gd name="connsiteX14" fmla="*/ 3045400 w 5220686"/>
              <a:gd name="connsiteY14" fmla="*/ 772891 h 773748"/>
              <a:gd name="connsiteX15" fmla="*/ 128818 w 5220686"/>
              <a:gd name="connsiteY15" fmla="*/ 772891 h 773748"/>
              <a:gd name="connsiteX16" fmla="*/ 16695 w 5220686"/>
              <a:gd name="connsiteY16" fmla="*/ 750208 h 773748"/>
              <a:gd name="connsiteX17" fmla="*/ 8165 w 5220686"/>
              <a:gd name="connsiteY17" fmla="*/ 648610 h 773748"/>
              <a:gd name="connsiteX18" fmla="*/ 0 w 5220686"/>
              <a:gd name="connsiteY18" fmla="*/ 128815 h 773748"/>
              <a:gd name="connsiteX19" fmla="*/ 0 w 5220686"/>
              <a:gd name="connsiteY19" fmla="*/ 128815 h 773748"/>
              <a:gd name="connsiteX20" fmla="*/ 0 w 5220686"/>
              <a:gd name="connsiteY20" fmla="*/ 128818 h 773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220686" h="773748">
                <a:moveTo>
                  <a:pt x="0" y="128818"/>
                </a:moveTo>
                <a:cubicBezTo>
                  <a:pt x="0" y="57674"/>
                  <a:pt x="57674" y="0"/>
                  <a:pt x="128818" y="0"/>
                </a:cubicBezTo>
                <a:lnTo>
                  <a:pt x="3045400" y="0"/>
                </a:lnTo>
                <a:lnTo>
                  <a:pt x="3045400" y="0"/>
                </a:lnTo>
                <a:lnTo>
                  <a:pt x="4350572" y="0"/>
                </a:lnTo>
                <a:lnTo>
                  <a:pt x="5091868" y="0"/>
                </a:lnTo>
                <a:cubicBezTo>
                  <a:pt x="5163012" y="0"/>
                  <a:pt x="5220686" y="57674"/>
                  <a:pt x="5220686" y="128818"/>
                </a:cubicBezTo>
                <a:lnTo>
                  <a:pt x="5220686" y="128815"/>
                </a:lnTo>
                <a:lnTo>
                  <a:pt x="5219567" y="328231"/>
                </a:lnTo>
                <a:lnTo>
                  <a:pt x="5220686" y="322038"/>
                </a:lnTo>
                <a:lnTo>
                  <a:pt x="5220686" y="644073"/>
                </a:lnTo>
                <a:cubicBezTo>
                  <a:pt x="5220686" y="715217"/>
                  <a:pt x="5163012" y="772891"/>
                  <a:pt x="5091868" y="772891"/>
                </a:cubicBezTo>
                <a:lnTo>
                  <a:pt x="4350572" y="772891"/>
                </a:lnTo>
                <a:lnTo>
                  <a:pt x="3045400" y="772891"/>
                </a:lnTo>
                <a:lnTo>
                  <a:pt x="3045400" y="772891"/>
                </a:lnTo>
                <a:lnTo>
                  <a:pt x="128818" y="772891"/>
                </a:lnTo>
                <a:cubicBezTo>
                  <a:pt x="57674" y="772891"/>
                  <a:pt x="16695" y="780530"/>
                  <a:pt x="16695" y="750208"/>
                </a:cubicBezTo>
                <a:lnTo>
                  <a:pt x="8165" y="648610"/>
                </a:lnTo>
                <a:lnTo>
                  <a:pt x="0" y="128815"/>
                </a:lnTo>
                <a:lnTo>
                  <a:pt x="0" y="128815"/>
                </a:lnTo>
                <a:lnTo>
                  <a:pt x="0" y="128818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207813" tIns="103908" rIns="207813" bIns="103908" anchor="ctr">
            <a:noAutofit/>
          </a:bodyPr>
          <a:lstStyle>
            <a:lvl1pPr eaLnBrk="0" hangingPunct="0"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altLang="en-US" sz="3200" i="1" kern="1200" dirty="0">
                <a:solidFill>
                  <a:srgbClr val="00AEEF"/>
                </a:solidFill>
                <a:latin typeface="Barclaycard Co Lt" pitchFamily="34" charset="0"/>
              </a:rPr>
              <a:t>Barclays </a:t>
            </a:r>
            <a:r>
              <a:rPr lang="en-US" altLang="en-US" sz="3200" i="1" kern="1200" dirty="0" err="1">
                <a:solidFill>
                  <a:srgbClr val="00AEEF"/>
                </a:solidFill>
                <a:latin typeface="Barclaycard Co Lt" pitchFamily="34" charset="0"/>
              </a:rPr>
              <a:t>RoundUp</a:t>
            </a:r>
            <a:r>
              <a:rPr lang="en-US" altLang="en-US" sz="3200" i="1" kern="1200" dirty="0">
                <a:solidFill>
                  <a:srgbClr val="00AEEF"/>
                </a:solidFill>
                <a:latin typeface="Barclaycard Co Lt" pitchFamily="34" charset="0"/>
              </a:rPr>
              <a:t> supports an intuitive customer journey with no change required in customer purchasing </a:t>
            </a:r>
            <a:r>
              <a:rPr lang="en-US" altLang="en-US" sz="3200" i="1" kern="1200" dirty="0" err="1">
                <a:solidFill>
                  <a:srgbClr val="00AEEF"/>
                </a:solidFill>
                <a:latin typeface="Barclaycard Co Lt" pitchFamily="34" charset="0"/>
              </a:rPr>
              <a:t>behaviour</a:t>
            </a:r>
            <a:endParaRPr lang="en-GB" altLang="en-US" sz="3200" i="1" kern="1200" dirty="0">
              <a:solidFill>
                <a:srgbClr val="000000"/>
              </a:solidFill>
              <a:latin typeface="Barclaycard Co Lt" pitchFamily="34" charset="0"/>
            </a:endParaRPr>
          </a:p>
        </p:txBody>
      </p:sp>
      <p:sp>
        <p:nvSpPr>
          <p:cNvPr id="40" name="Rectangle 8"/>
          <p:cNvSpPr>
            <a:spLocks noChangeArrowheads="1"/>
          </p:cNvSpPr>
          <p:nvPr/>
        </p:nvSpPr>
        <p:spPr bwMode="auto">
          <a:xfrm>
            <a:off x="2100529" y="4286207"/>
            <a:ext cx="6917179" cy="3017334"/>
          </a:xfrm>
          <a:custGeom>
            <a:avLst/>
            <a:gdLst>
              <a:gd name="connsiteX0" fmla="*/ 0 w 3048417"/>
              <a:gd name="connsiteY0" fmla="*/ 251450 h 1508667"/>
              <a:gd name="connsiteX1" fmla="*/ 251450 w 3048417"/>
              <a:gd name="connsiteY1" fmla="*/ 0 h 1508667"/>
              <a:gd name="connsiteX2" fmla="*/ 508070 w 3048417"/>
              <a:gd name="connsiteY2" fmla="*/ 0 h 1508667"/>
              <a:gd name="connsiteX3" fmla="*/ 508070 w 3048417"/>
              <a:gd name="connsiteY3" fmla="*/ 0 h 1508667"/>
              <a:gd name="connsiteX4" fmla="*/ 1270174 w 3048417"/>
              <a:gd name="connsiteY4" fmla="*/ 0 h 1508667"/>
              <a:gd name="connsiteX5" fmla="*/ 2796967 w 3048417"/>
              <a:gd name="connsiteY5" fmla="*/ 0 h 1508667"/>
              <a:gd name="connsiteX6" fmla="*/ 3048417 w 3048417"/>
              <a:gd name="connsiteY6" fmla="*/ 251450 h 1508667"/>
              <a:gd name="connsiteX7" fmla="*/ 3048417 w 3048417"/>
              <a:gd name="connsiteY7" fmla="*/ 880056 h 1508667"/>
              <a:gd name="connsiteX8" fmla="*/ 3048417 w 3048417"/>
              <a:gd name="connsiteY8" fmla="*/ 880056 h 1508667"/>
              <a:gd name="connsiteX9" fmla="*/ 3048417 w 3048417"/>
              <a:gd name="connsiteY9" fmla="*/ 1257223 h 1508667"/>
              <a:gd name="connsiteX10" fmla="*/ 3048417 w 3048417"/>
              <a:gd name="connsiteY10" fmla="*/ 1257217 h 1508667"/>
              <a:gd name="connsiteX11" fmla="*/ 2796967 w 3048417"/>
              <a:gd name="connsiteY11" fmla="*/ 1508667 h 1508667"/>
              <a:gd name="connsiteX12" fmla="*/ 1270174 w 3048417"/>
              <a:gd name="connsiteY12" fmla="*/ 1508667 h 1508667"/>
              <a:gd name="connsiteX13" fmla="*/ 508070 w 3048417"/>
              <a:gd name="connsiteY13" fmla="*/ 1508667 h 1508667"/>
              <a:gd name="connsiteX14" fmla="*/ 508070 w 3048417"/>
              <a:gd name="connsiteY14" fmla="*/ 1508667 h 1508667"/>
              <a:gd name="connsiteX15" fmla="*/ 251450 w 3048417"/>
              <a:gd name="connsiteY15" fmla="*/ 1508667 h 1508667"/>
              <a:gd name="connsiteX16" fmla="*/ 0 w 3048417"/>
              <a:gd name="connsiteY16" fmla="*/ 1257217 h 1508667"/>
              <a:gd name="connsiteX17" fmla="*/ 0 w 3048417"/>
              <a:gd name="connsiteY17" fmla="*/ 1257223 h 1508667"/>
              <a:gd name="connsiteX18" fmla="*/ -121205 w 3048417"/>
              <a:gd name="connsiteY18" fmla="*/ 1236700 h 1508667"/>
              <a:gd name="connsiteX19" fmla="*/ 0 w 3048417"/>
              <a:gd name="connsiteY19" fmla="*/ 880056 h 1508667"/>
              <a:gd name="connsiteX20" fmla="*/ 0 w 3048417"/>
              <a:gd name="connsiteY20" fmla="*/ 251450 h 1508667"/>
              <a:gd name="connsiteX0" fmla="*/ 138793 w 3187210"/>
              <a:gd name="connsiteY0" fmla="*/ 251450 h 1508667"/>
              <a:gd name="connsiteX1" fmla="*/ 390243 w 3187210"/>
              <a:gd name="connsiteY1" fmla="*/ 0 h 1508667"/>
              <a:gd name="connsiteX2" fmla="*/ 646863 w 3187210"/>
              <a:gd name="connsiteY2" fmla="*/ 0 h 1508667"/>
              <a:gd name="connsiteX3" fmla="*/ 646863 w 3187210"/>
              <a:gd name="connsiteY3" fmla="*/ 0 h 1508667"/>
              <a:gd name="connsiteX4" fmla="*/ 1408967 w 3187210"/>
              <a:gd name="connsiteY4" fmla="*/ 0 h 1508667"/>
              <a:gd name="connsiteX5" fmla="*/ 2935760 w 3187210"/>
              <a:gd name="connsiteY5" fmla="*/ 0 h 1508667"/>
              <a:gd name="connsiteX6" fmla="*/ 3187210 w 3187210"/>
              <a:gd name="connsiteY6" fmla="*/ 251450 h 1508667"/>
              <a:gd name="connsiteX7" fmla="*/ 3187210 w 3187210"/>
              <a:gd name="connsiteY7" fmla="*/ 880056 h 1508667"/>
              <a:gd name="connsiteX8" fmla="*/ 3187210 w 3187210"/>
              <a:gd name="connsiteY8" fmla="*/ 880056 h 1508667"/>
              <a:gd name="connsiteX9" fmla="*/ 3187210 w 3187210"/>
              <a:gd name="connsiteY9" fmla="*/ 1257223 h 1508667"/>
              <a:gd name="connsiteX10" fmla="*/ 3187210 w 3187210"/>
              <a:gd name="connsiteY10" fmla="*/ 1257217 h 1508667"/>
              <a:gd name="connsiteX11" fmla="*/ 2935760 w 3187210"/>
              <a:gd name="connsiteY11" fmla="*/ 1508667 h 1508667"/>
              <a:gd name="connsiteX12" fmla="*/ 1408967 w 3187210"/>
              <a:gd name="connsiteY12" fmla="*/ 1508667 h 1508667"/>
              <a:gd name="connsiteX13" fmla="*/ 646863 w 3187210"/>
              <a:gd name="connsiteY13" fmla="*/ 1508667 h 1508667"/>
              <a:gd name="connsiteX14" fmla="*/ 646863 w 3187210"/>
              <a:gd name="connsiteY14" fmla="*/ 1508667 h 1508667"/>
              <a:gd name="connsiteX15" fmla="*/ 390243 w 3187210"/>
              <a:gd name="connsiteY15" fmla="*/ 1508667 h 1508667"/>
              <a:gd name="connsiteX16" fmla="*/ 138793 w 3187210"/>
              <a:gd name="connsiteY16" fmla="*/ 1257217 h 1508667"/>
              <a:gd name="connsiteX17" fmla="*/ 0 w 3187210"/>
              <a:gd name="connsiteY17" fmla="*/ 1257223 h 1508667"/>
              <a:gd name="connsiteX18" fmla="*/ 17588 w 3187210"/>
              <a:gd name="connsiteY18" fmla="*/ 1236700 h 1508667"/>
              <a:gd name="connsiteX19" fmla="*/ 138793 w 3187210"/>
              <a:gd name="connsiteY19" fmla="*/ 880056 h 1508667"/>
              <a:gd name="connsiteX20" fmla="*/ 138793 w 3187210"/>
              <a:gd name="connsiteY20" fmla="*/ 251450 h 1508667"/>
              <a:gd name="connsiteX0" fmla="*/ 138793 w 3187210"/>
              <a:gd name="connsiteY0" fmla="*/ 251450 h 1508667"/>
              <a:gd name="connsiteX1" fmla="*/ 390243 w 3187210"/>
              <a:gd name="connsiteY1" fmla="*/ 0 h 1508667"/>
              <a:gd name="connsiteX2" fmla="*/ 646863 w 3187210"/>
              <a:gd name="connsiteY2" fmla="*/ 0 h 1508667"/>
              <a:gd name="connsiteX3" fmla="*/ 646863 w 3187210"/>
              <a:gd name="connsiteY3" fmla="*/ 0 h 1508667"/>
              <a:gd name="connsiteX4" fmla="*/ 1408967 w 3187210"/>
              <a:gd name="connsiteY4" fmla="*/ 0 h 1508667"/>
              <a:gd name="connsiteX5" fmla="*/ 2935760 w 3187210"/>
              <a:gd name="connsiteY5" fmla="*/ 0 h 1508667"/>
              <a:gd name="connsiteX6" fmla="*/ 3187210 w 3187210"/>
              <a:gd name="connsiteY6" fmla="*/ 251450 h 1508667"/>
              <a:gd name="connsiteX7" fmla="*/ 3187210 w 3187210"/>
              <a:gd name="connsiteY7" fmla="*/ 880056 h 1508667"/>
              <a:gd name="connsiteX8" fmla="*/ 3187210 w 3187210"/>
              <a:gd name="connsiteY8" fmla="*/ 880056 h 1508667"/>
              <a:gd name="connsiteX9" fmla="*/ 3187210 w 3187210"/>
              <a:gd name="connsiteY9" fmla="*/ 1257223 h 1508667"/>
              <a:gd name="connsiteX10" fmla="*/ 3187210 w 3187210"/>
              <a:gd name="connsiteY10" fmla="*/ 1257217 h 1508667"/>
              <a:gd name="connsiteX11" fmla="*/ 2935760 w 3187210"/>
              <a:gd name="connsiteY11" fmla="*/ 1508667 h 1508667"/>
              <a:gd name="connsiteX12" fmla="*/ 1408967 w 3187210"/>
              <a:gd name="connsiteY12" fmla="*/ 1508667 h 1508667"/>
              <a:gd name="connsiteX13" fmla="*/ 646863 w 3187210"/>
              <a:gd name="connsiteY13" fmla="*/ 1508667 h 1508667"/>
              <a:gd name="connsiteX14" fmla="*/ 646863 w 3187210"/>
              <a:gd name="connsiteY14" fmla="*/ 1508667 h 1508667"/>
              <a:gd name="connsiteX15" fmla="*/ 390243 w 3187210"/>
              <a:gd name="connsiteY15" fmla="*/ 1508667 h 1508667"/>
              <a:gd name="connsiteX16" fmla="*/ 138793 w 3187210"/>
              <a:gd name="connsiteY16" fmla="*/ 1257217 h 1508667"/>
              <a:gd name="connsiteX17" fmla="*/ 0 w 3187210"/>
              <a:gd name="connsiteY17" fmla="*/ 1257223 h 1508667"/>
              <a:gd name="connsiteX18" fmla="*/ 159697 w 3187210"/>
              <a:gd name="connsiteY18" fmla="*/ 1081579 h 1508667"/>
              <a:gd name="connsiteX19" fmla="*/ 138793 w 3187210"/>
              <a:gd name="connsiteY19" fmla="*/ 880056 h 1508667"/>
              <a:gd name="connsiteX20" fmla="*/ 138793 w 3187210"/>
              <a:gd name="connsiteY20" fmla="*/ 251450 h 1508667"/>
              <a:gd name="connsiteX0" fmla="*/ 0 w 3048417"/>
              <a:gd name="connsiteY0" fmla="*/ 251450 h 1508667"/>
              <a:gd name="connsiteX1" fmla="*/ 251450 w 3048417"/>
              <a:gd name="connsiteY1" fmla="*/ 0 h 1508667"/>
              <a:gd name="connsiteX2" fmla="*/ 508070 w 3048417"/>
              <a:gd name="connsiteY2" fmla="*/ 0 h 1508667"/>
              <a:gd name="connsiteX3" fmla="*/ 508070 w 3048417"/>
              <a:gd name="connsiteY3" fmla="*/ 0 h 1508667"/>
              <a:gd name="connsiteX4" fmla="*/ 1270174 w 3048417"/>
              <a:gd name="connsiteY4" fmla="*/ 0 h 1508667"/>
              <a:gd name="connsiteX5" fmla="*/ 2796967 w 3048417"/>
              <a:gd name="connsiteY5" fmla="*/ 0 h 1508667"/>
              <a:gd name="connsiteX6" fmla="*/ 3048417 w 3048417"/>
              <a:gd name="connsiteY6" fmla="*/ 251450 h 1508667"/>
              <a:gd name="connsiteX7" fmla="*/ 3048417 w 3048417"/>
              <a:gd name="connsiteY7" fmla="*/ 880056 h 1508667"/>
              <a:gd name="connsiteX8" fmla="*/ 3048417 w 3048417"/>
              <a:gd name="connsiteY8" fmla="*/ 880056 h 1508667"/>
              <a:gd name="connsiteX9" fmla="*/ 3048417 w 3048417"/>
              <a:gd name="connsiteY9" fmla="*/ 1257223 h 1508667"/>
              <a:gd name="connsiteX10" fmla="*/ 3048417 w 3048417"/>
              <a:gd name="connsiteY10" fmla="*/ 1257217 h 1508667"/>
              <a:gd name="connsiteX11" fmla="*/ 2796967 w 3048417"/>
              <a:gd name="connsiteY11" fmla="*/ 1508667 h 1508667"/>
              <a:gd name="connsiteX12" fmla="*/ 1270174 w 3048417"/>
              <a:gd name="connsiteY12" fmla="*/ 1508667 h 1508667"/>
              <a:gd name="connsiteX13" fmla="*/ 508070 w 3048417"/>
              <a:gd name="connsiteY13" fmla="*/ 1508667 h 1508667"/>
              <a:gd name="connsiteX14" fmla="*/ 508070 w 3048417"/>
              <a:gd name="connsiteY14" fmla="*/ 1508667 h 1508667"/>
              <a:gd name="connsiteX15" fmla="*/ 251450 w 3048417"/>
              <a:gd name="connsiteY15" fmla="*/ 1508667 h 1508667"/>
              <a:gd name="connsiteX16" fmla="*/ 0 w 3048417"/>
              <a:gd name="connsiteY16" fmla="*/ 1257217 h 1508667"/>
              <a:gd name="connsiteX17" fmla="*/ 3315 w 3048417"/>
              <a:gd name="connsiteY17" fmla="*/ 1232731 h 1508667"/>
              <a:gd name="connsiteX18" fmla="*/ 20904 w 3048417"/>
              <a:gd name="connsiteY18" fmla="*/ 1081579 h 1508667"/>
              <a:gd name="connsiteX19" fmla="*/ 0 w 3048417"/>
              <a:gd name="connsiteY19" fmla="*/ 880056 h 1508667"/>
              <a:gd name="connsiteX20" fmla="*/ 0 w 3048417"/>
              <a:gd name="connsiteY20" fmla="*/ 251450 h 1508667"/>
              <a:gd name="connsiteX0" fmla="*/ 0 w 3048417"/>
              <a:gd name="connsiteY0" fmla="*/ 251450 h 1508667"/>
              <a:gd name="connsiteX1" fmla="*/ 251450 w 3048417"/>
              <a:gd name="connsiteY1" fmla="*/ 0 h 1508667"/>
              <a:gd name="connsiteX2" fmla="*/ 508070 w 3048417"/>
              <a:gd name="connsiteY2" fmla="*/ 0 h 1508667"/>
              <a:gd name="connsiteX3" fmla="*/ 508070 w 3048417"/>
              <a:gd name="connsiteY3" fmla="*/ 0 h 1508667"/>
              <a:gd name="connsiteX4" fmla="*/ 1270174 w 3048417"/>
              <a:gd name="connsiteY4" fmla="*/ 0 h 1508667"/>
              <a:gd name="connsiteX5" fmla="*/ 2796967 w 3048417"/>
              <a:gd name="connsiteY5" fmla="*/ 0 h 1508667"/>
              <a:gd name="connsiteX6" fmla="*/ 3048417 w 3048417"/>
              <a:gd name="connsiteY6" fmla="*/ 251450 h 1508667"/>
              <a:gd name="connsiteX7" fmla="*/ 3048417 w 3048417"/>
              <a:gd name="connsiteY7" fmla="*/ 880056 h 1508667"/>
              <a:gd name="connsiteX8" fmla="*/ 3048417 w 3048417"/>
              <a:gd name="connsiteY8" fmla="*/ 880056 h 1508667"/>
              <a:gd name="connsiteX9" fmla="*/ 3048417 w 3048417"/>
              <a:gd name="connsiteY9" fmla="*/ 1257223 h 1508667"/>
              <a:gd name="connsiteX10" fmla="*/ 3048417 w 3048417"/>
              <a:gd name="connsiteY10" fmla="*/ 1257217 h 1508667"/>
              <a:gd name="connsiteX11" fmla="*/ 2796967 w 3048417"/>
              <a:gd name="connsiteY11" fmla="*/ 1508667 h 1508667"/>
              <a:gd name="connsiteX12" fmla="*/ 1270174 w 3048417"/>
              <a:gd name="connsiteY12" fmla="*/ 1508667 h 1508667"/>
              <a:gd name="connsiteX13" fmla="*/ 508070 w 3048417"/>
              <a:gd name="connsiteY13" fmla="*/ 1508667 h 1508667"/>
              <a:gd name="connsiteX14" fmla="*/ 508070 w 3048417"/>
              <a:gd name="connsiteY14" fmla="*/ 1508667 h 1508667"/>
              <a:gd name="connsiteX15" fmla="*/ 251450 w 3048417"/>
              <a:gd name="connsiteY15" fmla="*/ 1508667 h 1508667"/>
              <a:gd name="connsiteX16" fmla="*/ 0 w 3048417"/>
              <a:gd name="connsiteY16" fmla="*/ 1257217 h 1508667"/>
              <a:gd name="connsiteX17" fmla="*/ 3315 w 3048417"/>
              <a:gd name="connsiteY17" fmla="*/ 1232731 h 1508667"/>
              <a:gd name="connsiteX18" fmla="*/ 20904 w 3048417"/>
              <a:gd name="connsiteY18" fmla="*/ 1081579 h 1508667"/>
              <a:gd name="connsiteX19" fmla="*/ 0 w 3048417"/>
              <a:gd name="connsiteY19" fmla="*/ 880056 h 1508667"/>
              <a:gd name="connsiteX20" fmla="*/ 0 w 3048417"/>
              <a:gd name="connsiteY20" fmla="*/ 251450 h 1508667"/>
              <a:gd name="connsiteX0" fmla="*/ 8644 w 3057061"/>
              <a:gd name="connsiteY0" fmla="*/ 251450 h 1508667"/>
              <a:gd name="connsiteX1" fmla="*/ 260094 w 3057061"/>
              <a:gd name="connsiteY1" fmla="*/ 0 h 1508667"/>
              <a:gd name="connsiteX2" fmla="*/ 516714 w 3057061"/>
              <a:gd name="connsiteY2" fmla="*/ 0 h 1508667"/>
              <a:gd name="connsiteX3" fmla="*/ 516714 w 3057061"/>
              <a:gd name="connsiteY3" fmla="*/ 0 h 1508667"/>
              <a:gd name="connsiteX4" fmla="*/ 1278818 w 3057061"/>
              <a:gd name="connsiteY4" fmla="*/ 0 h 1508667"/>
              <a:gd name="connsiteX5" fmla="*/ 2805611 w 3057061"/>
              <a:gd name="connsiteY5" fmla="*/ 0 h 1508667"/>
              <a:gd name="connsiteX6" fmla="*/ 3057061 w 3057061"/>
              <a:gd name="connsiteY6" fmla="*/ 251450 h 1508667"/>
              <a:gd name="connsiteX7" fmla="*/ 3057061 w 3057061"/>
              <a:gd name="connsiteY7" fmla="*/ 880056 h 1508667"/>
              <a:gd name="connsiteX8" fmla="*/ 3057061 w 3057061"/>
              <a:gd name="connsiteY8" fmla="*/ 880056 h 1508667"/>
              <a:gd name="connsiteX9" fmla="*/ 3057061 w 3057061"/>
              <a:gd name="connsiteY9" fmla="*/ 1257223 h 1508667"/>
              <a:gd name="connsiteX10" fmla="*/ 3057061 w 3057061"/>
              <a:gd name="connsiteY10" fmla="*/ 1257217 h 1508667"/>
              <a:gd name="connsiteX11" fmla="*/ 2805611 w 3057061"/>
              <a:gd name="connsiteY11" fmla="*/ 1508667 h 1508667"/>
              <a:gd name="connsiteX12" fmla="*/ 1278818 w 3057061"/>
              <a:gd name="connsiteY12" fmla="*/ 1508667 h 1508667"/>
              <a:gd name="connsiteX13" fmla="*/ 516714 w 3057061"/>
              <a:gd name="connsiteY13" fmla="*/ 1508667 h 1508667"/>
              <a:gd name="connsiteX14" fmla="*/ 516714 w 3057061"/>
              <a:gd name="connsiteY14" fmla="*/ 1508667 h 1508667"/>
              <a:gd name="connsiteX15" fmla="*/ 260094 w 3057061"/>
              <a:gd name="connsiteY15" fmla="*/ 1508667 h 1508667"/>
              <a:gd name="connsiteX16" fmla="*/ 8644 w 3057061"/>
              <a:gd name="connsiteY16" fmla="*/ 1257217 h 1508667"/>
              <a:gd name="connsiteX17" fmla="*/ 11959 w 3057061"/>
              <a:gd name="connsiteY17" fmla="*/ 1232731 h 1508667"/>
              <a:gd name="connsiteX18" fmla="*/ 2902 w 3057061"/>
              <a:gd name="connsiteY18" fmla="*/ 1081579 h 1508667"/>
              <a:gd name="connsiteX19" fmla="*/ 8644 w 3057061"/>
              <a:gd name="connsiteY19" fmla="*/ 880056 h 1508667"/>
              <a:gd name="connsiteX20" fmla="*/ 8644 w 3057061"/>
              <a:gd name="connsiteY20" fmla="*/ 251450 h 1508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057061" h="1508667">
                <a:moveTo>
                  <a:pt x="8644" y="251450"/>
                </a:moveTo>
                <a:cubicBezTo>
                  <a:pt x="8644" y="112578"/>
                  <a:pt x="121222" y="0"/>
                  <a:pt x="260094" y="0"/>
                </a:cubicBezTo>
                <a:lnTo>
                  <a:pt x="516714" y="0"/>
                </a:lnTo>
                <a:lnTo>
                  <a:pt x="516714" y="0"/>
                </a:lnTo>
                <a:lnTo>
                  <a:pt x="1278818" y="0"/>
                </a:lnTo>
                <a:lnTo>
                  <a:pt x="2805611" y="0"/>
                </a:lnTo>
                <a:cubicBezTo>
                  <a:pt x="2944483" y="0"/>
                  <a:pt x="3057061" y="112578"/>
                  <a:pt x="3057061" y="251450"/>
                </a:cubicBezTo>
                <a:lnTo>
                  <a:pt x="3057061" y="880056"/>
                </a:lnTo>
                <a:lnTo>
                  <a:pt x="3057061" y="880056"/>
                </a:lnTo>
                <a:lnTo>
                  <a:pt x="3057061" y="1257223"/>
                </a:lnTo>
                <a:lnTo>
                  <a:pt x="3057061" y="1257217"/>
                </a:lnTo>
                <a:cubicBezTo>
                  <a:pt x="3057061" y="1396089"/>
                  <a:pt x="2944483" y="1508667"/>
                  <a:pt x="2805611" y="1508667"/>
                </a:cubicBezTo>
                <a:lnTo>
                  <a:pt x="1278818" y="1508667"/>
                </a:lnTo>
                <a:lnTo>
                  <a:pt x="516714" y="1508667"/>
                </a:lnTo>
                <a:lnTo>
                  <a:pt x="516714" y="1508667"/>
                </a:lnTo>
                <a:lnTo>
                  <a:pt x="260094" y="1508667"/>
                </a:lnTo>
                <a:cubicBezTo>
                  <a:pt x="121222" y="1508667"/>
                  <a:pt x="8644" y="1396089"/>
                  <a:pt x="8644" y="1257217"/>
                </a:cubicBezTo>
                <a:lnTo>
                  <a:pt x="11959" y="1232731"/>
                </a:lnTo>
                <a:cubicBezTo>
                  <a:pt x="60" y="1174182"/>
                  <a:pt x="-2961" y="1131963"/>
                  <a:pt x="2902" y="1081579"/>
                </a:cubicBezTo>
                <a:lnTo>
                  <a:pt x="8644" y="880056"/>
                </a:lnTo>
                <a:lnTo>
                  <a:pt x="8644" y="25145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207813" tIns="103908" rIns="207813" bIns="103908" anchor="ctr">
            <a:noAutofit/>
          </a:bodyPr>
          <a:lstStyle>
            <a:lvl1pPr eaLnBrk="0" hangingPunct="0"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4100" b="1" i="1" kern="1200" dirty="0">
                <a:solidFill>
                  <a:srgbClr val="00AEEF"/>
                </a:solidFill>
                <a:latin typeface="Barclaycard Co Lt" pitchFamily="34" charset="0"/>
              </a:rPr>
              <a:t>Win, Win, Win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i="1" kern="1200" dirty="0">
                <a:solidFill>
                  <a:srgbClr val="00AEEF"/>
                </a:solidFill>
                <a:latin typeface="Barclaycard Co Lt" pitchFamily="34" charset="0"/>
              </a:rPr>
              <a:t>Doing good, profitably, in a way that’s convenient &amp; simple for our customers</a:t>
            </a:r>
          </a:p>
        </p:txBody>
      </p:sp>
      <p:sp>
        <p:nvSpPr>
          <p:cNvPr id="49" name="Oval 48"/>
          <p:cNvSpPr/>
          <p:nvPr/>
        </p:nvSpPr>
        <p:spPr>
          <a:xfrm>
            <a:off x="21751868" y="10603783"/>
            <a:ext cx="240761" cy="195618"/>
          </a:xfrm>
          <a:prstGeom prst="ellipse">
            <a:avLst/>
          </a:prstGeom>
          <a:solidFill>
            <a:srgbClr val="93E2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0" name="Oval 49"/>
          <p:cNvSpPr/>
          <p:nvPr/>
        </p:nvSpPr>
        <p:spPr>
          <a:xfrm>
            <a:off x="19259314" y="10670977"/>
            <a:ext cx="240761" cy="195618"/>
          </a:xfrm>
          <a:prstGeom prst="ellipse">
            <a:avLst/>
          </a:prstGeom>
          <a:solidFill>
            <a:srgbClr val="93E2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2" name="Oval 51"/>
          <p:cNvSpPr/>
          <p:nvPr/>
        </p:nvSpPr>
        <p:spPr>
          <a:xfrm>
            <a:off x="16752687" y="10818303"/>
            <a:ext cx="178786" cy="162962"/>
          </a:xfrm>
          <a:prstGeom prst="ellipse">
            <a:avLst/>
          </a:prstGeom>
          <a:solidFill>
            <a:srgbClr val="93E2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5" name="Oval 54"/>
          <p:cNvSpPr/>
          <p:nvPr/>
        </p:nvSpPr>
        <p:spPr>
          <a:xfrm>
            <a:off x="14768142" y="11055611"/>
            <a:ext cx="112539" cy="91438"/>
          </a:xfrm>
          <a:prstGeom prst="ellipse">
            <a:avLst/>
          </a:prstGeom>
          <a:solidFill>
            <a:srgbClr val="93E2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7" name="TextBox 56"/>
          <p:cNvSpPr txBox="1"/>
          <p:nvPr/>
        </p:nvSpPr>
        <p:spPr>
          <a:xfrm>
            <a:off x="14335878" y="11433396"/>
            <a:ext cx="100828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b="1" kern="1200" dirty="0">
                <a:solidFill>
                  <a:srgbClr val="00AEEF"/>
                </a:solidFill>
                <a:latin typeface="Expert Sans Regular"/>
                <a:cs typeface="Arial" charset="0"/>
              </a:rPr>
              <a:t>Socialisation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8902442" y="11048778"/>
            <a:ext cx="11557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b="1" kern="1200" dirty="0">
                <a:solidFill>
                  <a:srgbClr val="00AEEF"/>
                </a:solidFill>
                <a:latin typeface="Expert Sans Regular"/>
                <a:cs typeface="Arial" charset="0"/>
              </a:rPr>
              <a:t>Customisation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1600520" y="10970532"/>
            <a:ext cx="58189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b="1" kern="1200" dirty="0">
                <a:solidFill>
                  <a:srgbClr val="00AEEF"/>
                </a:solidFill>
                <a:latin typeface="Expert Sans Regular"/>
                <a:cs typeface="Arial" charset="0"/>
              </a:rPr>
              <a:t>Donate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6832425" y="11182802"/>
            <a:ext cx="52578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b="1" kern="1200" dirty="0">
                <a:solidFill>
                  <a:srgbClr val="00AEEF"/>
                </a:solidFill>
                <a:latin typeface="Expert Sans Regular"/>
                <a:cs typeface="Arial" charset="0"/>
              </a:rPr>
              <a:t>Opt-In</a:t>
            </a:r>
          </a:p>
        </p:txBody>
      </p:sp>
    </p:spTree>
    <p:extLst>
      <p:ext uri="{BB962C8B-B14F-4D97-AF65-F5344CB8AC3E}">
        <p14:creationId xmlns:p14="http://schemas.microsoft.com/office/powerpoint/2010/main" val="35812148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873921"/>
              </p:ext>
            </p:extLst>
          </p:nvPr>
        </p:nvGraphicFramePr>
        <p:xfrm>
          <a:off x="3910" y="3179"/>
          <a:ext cx="390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910" y="3179"/>
                        <a:ext cx="390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/>
          <p:nvPr/>
        </p:nvSpPr>
        <p:spPr bwMode="auto">
          <a:xfrm>
            <a:off x="2187465" y="2218387"/>
            <a:ext cx="20619621" cy="9897414"/>
          </a:xfrm>
          <a:prstGeom prst="rect">
            <a:avLst/>
          </a:prstGeom>
          <a:solidFill>
            <a:schemeClr val="bg2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2078132" fontAlgn="base">
              <a:spcBef>
                <a:spcPct val="0"/>
              </a:spcBef>
              <a:spcAft>
                <a:spcPct val="0"/>
              </a:spcAft>
            </a:pPr>
            <a:endParaRPr lang="en-GB" sz="8200" kern="1200" dirty="0">
              <a:solidFill>
                <a:srgbClr val="00AEEF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26438" y="2627277"/>
            <a:ext cx="1994167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3600" b="1" kern="1200" dirty="0">
                <a:latin typeface="Expert Sans Regular"/>
                <a:cs typeface="Arial" charset="0"/>
              </a:rPr>
              <a:t>Significant financial impact</a:t>
            </a:r>
            <a:r>
              <a:rPr lang="en-GB" sz="3600" kern="1200" dirty="0">
                <a:latin typeface="Expert Sans Regular"/>
                <a:cs typeface="Arial" charset="0"/>
              </a:rPr>
              <a:t> even with minimal adoption rat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526440" y="7959419"/>
            <a:ext cx="364543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800" b="1" kern="1200" dirty="0">
                <a:solidFill>
                  <a:srgbClr val="969696">
                    <a:lumMod val="50000"/>
                  </a:srgbClr>
                </a:solidFill>
                <a:latin typeface="Expert Sans Regular"/>
                <a:cs typeface="Arial" charset="0"/>
              </a:rPr>
              <a:t>Current Active Card Customers in Barclays UK</a:t>
            </a: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2526437" y="3308384"/>
            <a:ext cx="19941676" cy="0"/>
          </a:xfrm>
          <a:prstGeom prst="line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Oval 24"/>
          <p:cNvSpPr/>
          <p:nvPr/>
        </p:nvSpPr>
        <p:spPr bwMode="auto">
          <a:xfrm>
            <a:off x="2450023" y="4717892"/>
            <a:ext cx="3721846" cy="3024000"/>
          </a:xfrm>
          <a:prstGeom prst="ellipse">
            <a:avLst/>
          </a:prstGeom>
          <a:solidFill>
            <a:srgbClr val="00AEEF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2078132" fontAlgn="base">
              <a:spcBef>
                <a:spcPct val="0"/>
              </a:spcBef>
              <a:spcAft>
                <a:spcPct val="0"/>
              </a:spcAft>
            </a:pPr>
            <a:endParaRPr lang="en-GB" sz="8200" kern="1200">
              <a:solidFill>
                <a:srgbClr val="00AEEF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205768" y="5983673"/>
            <a:ext cx="221035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3600" b="1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c23m</a:t>
            </a:r>
          </a:p>
        </p:txBody>
      </p:sp>
      <p:sp>
        <p:nvSpPr>
          <p:cNvPr id="22" name="Isosceles Triangle 21"/>
          <p:cNvSpPr/>
          <p:nvPr/>
        </p:nvSpPr>
        <p:spPr bwMode="auto">
          <a:xfrm rot="10800000">
            <a:off x="11470698" y="4092124"/>
            <a:ext cx="2067121" cy="371732"/>
          </a:xfrm>
          <a:prstGeom prst="triangle">
            <a:avLst/>
          </a:prstGeom>
          <a:solidFill>
            <a:srgbClr val="00AEE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2078132" fontAlgn="base">
              <a:spcBef>
                <a:spcPct val="0"/>
              </a:spcBef>
              <a:spcAft>
                <a:spcPct val="0"/>
              </a:spcAft>
            </a:pPr>
            <a:endParaRPr lang="en-GB" sz="8200" kern="1200">
              <a:solidFill>
                <a:srgbClr val="00AEEF"/>
              </a:solidFill>
              <a:latin typeface="Arial" pitchFamily="34" charset="0"/>
              <a:cs typeface="Arial" charset="0"/>
            </a:endParaRPr>
          </a:p>
        </p:txBody>
      </p:sp>
      <p:cxnSp>
        <p:nvCxnSpPr>
          <p:cNvPr id="27" name="Straight Connector 26"/>
          <p:cNvCxnSpPr/>
          <p:nvPr/>
        </p:nvCxnSpPr>
        <p:spPr bwMode="auto">
          <a:xfrm>
            <a:off x="2450023" y="9360830"/>
            <a:ext cx="19985226" cy="0"/>
          </a:xfrm>
          <a:prstGeom prst="line">
            <a:avLst/>
          </a:prstGeom>
          <a:noFill/>
          <a:ln w="9525" cap="flat" cmpd="sng" algn="ctr">
            <a:solidFill>
              <a:srgbClr val="00AEEF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itle 2"/>
          <p:cNvSpPr>
            <a:spLocks noGrp="1"/>
          </p:cNvSpPr>
          <p:nvPr>
            <p:ph type="title"/>
          </p:nvPr>
        </p:nvSpPr>
        <p:spPr>
          <a:xfrm>
            <a:off x="3838477" y="236149"/>
            <a:ext cx="19915828" cy="1985159"/>
          </a:xfrm>
        </p:spPr>
        <p:txBody>
          <a:bodyPr/>
          <a:lstStyle/>
          <a:p>
            <a:r>
              <a:rPr lang="en-US" sz="4300" i="1" dirty="0"/>
              <a:t>Even if only a fraction of current </a:t>
            </a:r>
            <a:r>
              <a:rPr lang="en-US" sz="4300" i="1" dirty="0"/>
              <a:t>Barclays customers adopt </a:t>
            </a:r>
            <a:r>
              <a:rPr lang="en-US" sz="4300" i="1" dirty="0"/>
              <a:t>Round-Up the social impact would be very </a:t>
            </a:r>
            <a:r>
              <a:rPr lang="en-US" sz="4300" i="1" dirty="0"/>
              <a:t>significant; if Round Up was made available to Barclays wide products the social impact would be incredible</a:t>
            </a:r>
            <a:endParaRPr lang="en-GB" sz="4300" i="1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617" y="217021"/>
            <a:ext cx="2616812" cy="2001366"/>
          </a:xfrm>
          <a:prstGeom prst="rect">
            <a:avLst/>
          </a:prstGeom>
        </p:spPr>
      </p:pic>
      <p:sp>
        <p:nvSpPr>
          <p:cNvPr id="35" name="Oval 34"/>
          <p:cNvSpPr/>
          <p:nvPr/>
        </p:nvSpPr>
        <p:spPr bwMode="auto">
          <a:xfrm>
            <a:off x="13152534" y="4874834"/>
            <a:ext cx="3721846" cy="3024000"/>
          </a:xfrm>
          <a:prstGeom prst="ellipse">
            <a:avLst/>
          </a:prstGeom>
          <a:solidFill>
            <a:srgbClr val="00AEEF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2078132" fontAlgn="base">
              <a:spcBef>
                <a:spcPct val="0"/>
              </a:spcBef>
              <a:spcAft>
                <a:spcPct val="0"/>
              </a:spcAft>
            </a:pPr>
            <a:endParaRPr lang="en-GB" sz="8200" kern="1200">
              <a:solidFill>
                <a:srgbClr val="00AEEF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37" name="Oval 36"/>
          <p:cNvSpPr/>
          <p:nvPr/>
        </p:nvSpPr>
        <p:spPr bwMode="auto">
          <a:xfrm>
            <a:off x="7751776" y="4748666"/>
            <a:ext cx="3721846" cy="3024000"/>
          </a:xfrm>
          <a:prstGeom prst="ellipse">
            <a:avLst/>
          </a:prstGeom>
          <a:solidFill>
            <a:srgbClr val="00AEEF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2078132" fontAlgn="base">
              <a:spcBef>
                <a:spcPct val="0"/>
              </a:spcBef>
              <a:spcAft>
                <a:spcPct val="0"/>
              </a:spcAft>
            </a:pPr>
            <a:endParaRPr lang="en-GB" sz="8200" kern="1200">
              <a:solidFill>
                <a:srgbClr val="00AEEF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129649" y="8240774"/>
            <a:ext cx="29661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800" b="1" kern="1200" dirty="0">
                <a:solidFill>
                  <a:srgbClr val="969696">
                    <a:lumMod val="50000"/>
                  </a:srgbClr>
                </a:solidFill>
                <a:latin typeface="Expert Sans Regular"/>
                <a:cs typeface="Arial" charset="0"/>
              </a:rPr>
              <a:t>Adoption Rate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3373344" y="8174859"/>
            <a:ext cx="372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800" b="1" kern="1200" dirty="0">
                <a:solidFill>
                  <a:srgbClr val="969696">
                    <a:lumMod val="50000"/>
                  </a:srgbClr>
                </a:solidFill>
                <a:latin typeface="Expert Sans Regular"/>
                <a:cs typeface="Arial" charset="0"/>
              </a:rPr>
              <a:t>Average donation per month per user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8507521" y="6079063"/>
            <a:ext cx="221035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3600" b="1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2%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3908279" y="6171393"/>
            <a:ext cx="221035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3600" b="1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£2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967343" y="6014446"/>
            <a:ext cx="45456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GB" sz="3200" b="1" kern="1200" dirty="0">
                <a:solidFill>
                  <a:srgbClr val="969696">
                    <a:lumMod val="50000"/>
                  </a:srgbClr>
                </a:solidFill>
                <a:latin typeface="Expert Sans Regular"/>
                <a:cs typeface="Arial" charset="0"/>
              </a:rPr>
              <a:t>X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2276977" y="6076000"/>
            <a:ext cx="45456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GB" sz="3200" b="1" kern="1200" dirty="0">
                <a:solidFill>
                  <a:srgbClr val="969696">
                    <a:lumMod val="50000"/>
                  </a:srgbClr>
                </a:solidFill>
                <a:latin typeface="Expert Sans Regular"/>
                <a:cs typeface="Arial" charset="0"/>
              </a:rPr>
              <a:t>X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7667341" y="6171390"/>
            <a:ext cx="45456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GB" sz="3200" b="1" kern="1200" dirty="0">
                <a:solidFill>
                  <a:srgbClr val="969696">
                    <a:lumMod val="50000"/>
                  </a:srgbClr>
                </a:solidFill>
                <a:latin typeface="Expert Sans Regular"/>
                <a:cs typeface="Arial" charset="0"/>
              </a:rPr>
              <a:t>=</a:t>
            </a:r>
          </a:p>
        </p:txBody>
      </p:sp>
      <p:sp>
        <p:nvSpPr>
          <p:cNvPr id="47" name="Oval 46"/>
          <p:cNvSpPr/>
          <p:nvPr/>
        </p:nvSpPr>
        <p:spPr bwMode="auto">
          <a:xfrm>
            <a:off x="18746267" y="4813282"/>
            <a:ext cx="3721846" cy="3024000"/>
          </a:xfrm>
          <a:prstGeom prst="ellipse">
            <a:avLst/>
          </a:prstGeom>
          <a:solidFill>
            <a:srgbClr val="00AEEF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2078132" fontAlgn="base">
              <a:spcBef>
                <a:spcPct val="0"/>
              </a:spcBef>
              <a:spcAft>
                <a:spcPct val="0"/>
              </a:spcAft>
            </a:pPr>
            <a:endParaRPr lang="en-GB" sz="8200" kern="1200">
              <a:solidFill>
                <a:srgbClr val="00AEEF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9568594" y="6115961"/>
            <a:ext cx="221035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3600" b="1" kern="1200" dirty="0">
                <a:solidFill>
                  <a:srgbClr val="FFFFFF"/>
                </a:solidFill>
                <a:latin typeface="Expert Sans Regular"/>
                <a:cs typeface="Arial" charset="0"/>
              </a:rPr>
              <a:t>£11M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8744490" y="8174865"/>
            <a:ext cx="372184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800" b="1" kern="1200" dirty="0">
                <a:solidFill>
                  <a:srgbClr val="969696">
                    <a:lumMod val="50000"/>
                  </a:srgbClr>
                </a:solidFill>
                <a:latin typeface="Expert Sans Regular"/>
                <a:cs typeface="Arial" charset="0"/>
              </a:rPr>
              <a:t>Total donation per annum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76547"/>
              </p:ext>
            </p:extLst>
          </p:nvPr>
        </p:nvGraphicFramePr>
        <p:xfrm>
          <a:off x="6854371" y="9594626"/>
          <a:ext cx="11754340" cy="2400148"/>
        </p:xfrm>
        <a:graphic>
          <a:graphicData uri="http://schemas.openxmlformats.org/drawingml/2006/table">
            <a:tbl>
              <a:tblPr firstRow="1" firstCol="1" bandRow="1"/>
              <a:tblGrid>
                <a:gridCol w="2350868"/>
                <a:gridCol w="2350868"/>
                <a:gridCol w="2350868"/>
                <a:gridCol w="2350868"/>
                <a:gridCol w="2350868"/>
              </a:tblGrid>
              <a:tr h="293370"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Annual Collaborative Donation to Social Enterprises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933298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Average </a:t>
                      </a:r>
                      <a:r>
                        <a:rPr lang="en-US" sz="18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RoundUp</a:t>
                      </a:r>
                      <a:r>
                        <a:rPr lang="en-US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 per Customer per Month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E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Adoption Rate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29337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1%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2%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5%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10%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EEF"/>
                    </a:solidFill>
                  </a:tcPr>
                </a:tc>
              </a:tr>
              <a:tr h="2933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1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2,76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5,52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13,80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27,60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3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2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5,52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11,04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27,60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 dirty="0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55,20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3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5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13,80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27,60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69,00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800" b="1" i="0" u="none" strike="noStrike" dirty="0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138,000,000</a:t>
                      </a:r>
                    </a:p>
                  </a:txBody>
                  <a:tcPr marL="23446" marR="23446" marT="19050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73702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" name="Shape 17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0000" y="312956"/>
            <a:ext cx="23684000" cy="13090088"/>
          </a:xfrm>
          <a:prstGeom prst="rect">
            <a:avLst/>
          </a:prstGeom>
          <a:noFill/>
          <a:ln>
            <a:noFill/>
          </a:ln>
        </p:spPr>
      </p:pic>
      <p:sp>
        <p:nvSpPr>
          <p:cNvPr id="179" name="Shape 179"/>
          <p:cNvSpPr/>
          <p:nvPr/>
        </p:nvSpPr>
        <p:spPr>
          <a:xfrm>
            <a:off x="1516980" y="5633864"/>
            <a:ext cx="21350037" cy="1384301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8000" b="0" i="0" u="none" strike="noStrike" cap="none" dirty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WHO ARE THE CIRCLE OF YOUNG INTRAPRENEURS?</a:t>
            </a:r>
          </a:p>
        </p:txBody>
      </p:sp>
      <p:pic>
        <p:nvPicPr>
          <p:cNvPr id="180" name="Shape 18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78933" y="7558760"/>
            <a:ext cx="21226133" cy="762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" name="Shape 181"/>
          <p:cNvSpPr txBox="1"/>
          <p:nvPr/>
        </p:nvSpPr>
        <p:spPr>
          <a:xfrm>
            <a:off x="127000" y="13446820"/>
            <a:ext cx="24129999" cy="256480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 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33412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h04414004\AppData\Local\Microsoft\Windows\Temporary Internet Files\Content.Outlook\O0J8SET5\Toolkit draft 002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7464" y="305272"/>
            <a:ext cx="9721080" cy="12961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5480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Shape 208"/>
          <p:cNvSpPr txBox="1"/>
          <p:nvPr/>
        </p:nvSpPr>
        <p:spPr>
          <a:xfrm>
            <a:off x="127000" y="13446820"/>
            <a:ext cx="24129999" cy="256480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 Internal Only</a:t>
            </a:r>
          </a:p>
        </p:txBody>
      </p:sp>
      <p:pic>
        <p:nvPicPr>
          <p:cNvPr id="7170" name="Picture 2" descr="C:\Users\h04414004\AppData\Local\Microsoft\Windows\Temporary Internet Files\Content.Outlook\O0J8SET5\COYI corps 001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5456" y="377280"/>
            <a:ext cx="9721080" cy="12961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4715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ircle One Pager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Get latest from </a:t>
            </a:r>
            <a:r>
              <a:rPr lang="en-GB" dirty="0" err="1" smtClean="0"/>
              <a:t>dropbo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178611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h04414004\AppData\Local\Microsoft\Windows\Temporary Internet Files\Content.Outlook\O0J8SET5\COYI Vision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4384000" cy="137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22390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ircle Map</a:t>
            </a:r>
            <a:endParaRPr lang="en-GB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Get latest from </a:t>
            </a:r>
            <a:r>
              <a:rPr lang="en-GB" dirty="0" err="1" smtClean="0"/>
              <a:t>dropbo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532296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1" name="Shape 24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0000" y="312956"/>
            <a:ext cx="23684000" cy="130900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42" name="Shape 24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78933" y="7558760"/>
            <a:ext cx="21226133" cy="76200"/>
          </a:xfrm>
          <a:prstGeom prst="rect">
            <a:avLst/>
          </a:prstGeom>
          <a:noFill/>
          <a:ln>
            <a:noFill/>
          </a:ln>
        </p:spPr>
      </p:pic>
      <p:sp>
        <p:nvSpPr>
          <p:cNvPr id="243" name="Shape 243"/>
          <p:cNvSpPr/>
          <p:nvPr/>
        </p:nvSpPr>
        <p:spPr>
          <a:xfrm>
            <a:off x="1516980" y="5166723"/>
            <a:ext cx="21350037" cy="2318583"/>
          </a:xfrm>
          <a:prstGeom prst="rect">
            <a:avLst/>
          </a:prstGeom>
          <a:noFill/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7200" b="0" i="0" u="none" strike="noStrike" cap="none" dirty="0" smtClean="0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THE TAKEAWAYS</a:t>
            </a:r>
            <a:endParaRPr lang="en-GB" sz="7200" b="0" i="0" u="none" strike="noStrike" cap="none" dirty="0">
              <a:solidFill>
                <a:srgbClr val="FF7E7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6875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pic>
        <p:nvPicPr>
          <p:cNvPr id="1032" name="Picture 8" descr="Image result for World"/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652" y="526224"/>
            <a:ext cx="22976248" cy="12713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3050" y="5149853"/>
            <a:ext cx="21031200" cy="2651126"/>
          </a:xfrm>
        </p:spPr>
        <p:txBody>
          <a:bodyPr>
            <a:noAutofit/>
          </a:bodyPr>
          <a:lstStyle/>
          <a:p>
            <a:pPr algn="ctr"/>
            <a:r>
              <a:rPr lang="en-US" sz="13200" dirty="0">
                <a:latin typeface="Century Gothic" panose="020B0502020202020204" pitchFamily="34" charset="0"/>
              </a:rPr>
              <a:t>The world is full of </a:t>
            </a:r>
            <a:br>
              <a:rPr lang="en-US" sz="13200" dirty="0">
                <a:latin typeface="Century Gothic" panose="020B0502020202020204" pitchFamily="34" charset="0"/>
              </a:rPr>
            </a:br>
            <a:r>
              <a:rPr lang="en-US" sz="13200" b="1" u="sng" dirty="0">
                <a:solidFill>
                  <a:srgbClr val="FF0000"/>
                </a:solidFill>
                <a:latin typeface="Century Gothic" panose="020B0502020202020204" pitchFamily="34" charset="0"/>
              </a:rPr>
              <a:t>BIG</a:t>
            </a:r>
            <a:r>
              <a:rPr lang="en-US" sz="13200" dirty="0">
                <a:latin typeface="Century Gothic" panose="020B0502020202020204" pitchFamily="34" charset="0"/>
              </a:rPr>
              <a:t> problems</a:t>
            </a:r>
          </a:p>
        </p:txBody>
      </p:sp>
    </p:spTree>
    <p:extLst>
      <p:ext uri="{BB962C8B-B14F-4D97-AF65-F5344CB8AC3E}">
        <p14:creationId xmlns:p14="http://schemas.microsoft.com/office/powerpoint/2010/main" val="772740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9" name="Shape 3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8004" y="0"/>
            <a:ext cx="24384000" cy="13716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4" name="Shape 3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44016" y="0"/>
            <a:ext cx="24217334" cy="1362225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9" name="Shape 3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008" y="0"/>
            <a:ext cx="24217334" cy="1362225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4" name="Shape 33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24384000" cy="13716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sert fixed takeaways </a:t>
            </a:r>
            <a:r>
              <a:rPr lang="en-GB" smtClean="0"/>
              <a:t>for audienc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95289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9" name="Shape 33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0000" y="312956"/>
            <a:ext cx="23684000" cy="13090088"/>
          </a:xfrm>
          <a:prstGeom prst="rect">
            <a:avLst/>
          </a:prstGeom>
          <a:noFill/>
          <a:ln>
            <a:noFill/>
          </a:ln>
        </p:spPr>
      </p:pic>
      <p:sp>
        <p:nvSpPr>
          <p:cNvPr id="340" name="Shape 340"/>
          <p:cNvSpPr/>
          <p:nvPr/>
        </p:nvSpPr>
        <p:spPr>
          <a:xfrm>
            <a:off x="793860" y="3263840"/>
            <a:ext cx="13082027" cy="855105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Avenir"/>
              <a:buNone/>
            </a:pPr>
            <a:endParaRPr sz="5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110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JOIN US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Avenir"/>
              <a:buNone/>
            </a:pPr>
            <a:endParaRPr sz="5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63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WWW.CIRCLEOFYI.COM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63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   @CIRCLEOFYI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Arial"/>
              <a:buNone/>
            </a:pPr>
            <a:endParaRPr sz="50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Font typeface="Arial"/>
              <a:buNone/>
            </a:pPr>
            <a:endParaRPr sz="4400" b="0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7E79"/>
              </a:buClr>
              <a:buSzPct val="25000"/>
              <a:buFont typeface="Arial"/>
              <a:buNone/>
            </a:pPr>
            <a:r>
              <a:rPr lang="en-GB" sz="4400" b="0" i="0" u="none" strike="noStrike" cap="none">
                <a:solidFill>
                  <a:srgbClr val="FF7E79"/>
                </a:solidFill>
                <a:latin typeface="Arial"/>
                <a:ea typeface="Arial"/>
                <a:cs typeface="Arial"/>
                <a:sym typeface="Arial"/>
              </a:rPr>
              <a:t>WANT TO BECOME A CIRCLE LEAD FOR YOUR CITY? EMAIL US  TIM@CIRCLEOFYI.COM</a:t>
            </a:r>
          </a:p>
        </p:txBody>
      </p:sp>
      <p:pic>
        <p:nvPicPr>
          <p:cNvPr id="341" name="Shape 34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2895874" y="1367600"/>
            <a:ext cx="10980797" cy="1098079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2" name="Shape 34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551039" y="7196635"/>
            <a:ext cx="685466" cy="68546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898" y="2787653"/>
            <a:ext cx="11807182" cy="2651126"/>
          </a:xfrm>
        </p:spPr>
        <p:txBody>
          <a:bodyPr>
            <a:noAutofit/>
          </a:bodyPr>
          <a:lstStyle/>
          <a:p>
            <a:r>
              <a:rPr lang="en-US" sz="12000" b="1" dirty="0" smtClean="0">
                <a:latin typeface="Century Gothic" panose="020B0502020202020204" pitchFamily="34" charset="0"/>
              </a:rPr>
              <a:t>OVER CONSUMPTION</a:t>
            </a:r>
            <a:endParaRPr lang="en-US" sz="12000" b="1" dirty="0">
              <a:latin typeface="Century Gothic" panose="020B0502020202020204" pitchFamily="34" charset="0"/>
            </a:endParaRPr>
          </a:p>
        </p:txBody>
      </p:sp>
      <p:pic>
        <p:nvPicPr>
          <p:cNvPr id="4" name="Picture 2" descr="Image result for poor nutrition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5696" y="2418807"/>
            <a:ext cx="17042779" cy="10487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Image result for sdg consumpti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712" y="9234264"/>
            <a:ext cx="3810000" cy="3800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9312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age result for Access to wat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24384000" cy="13715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1397003"/>
            <a:ext cx="10058400" cy="2651126"/>
          </a:xfrm>
        </p:spPr>
        <p:txBody>
          <a:bodyPr>
            <a:noAutofit/>
          </a:bodyPr>
          <a:lstStyle/>
          <a:p>
            <a:r>
              <a:rPr lang="en-US" sz="1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CCESS TO WATER</a:t>
            </a:r>
          </a:p>
        </p:txBody>
      </p:sp>
      <p:pic>
        <p:nvPicPr>
          <p:cNvPr id="3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26" y="9620149"/>
            <a:ext cx="3862586" cy="386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7192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deforesta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56" y="34577"/>
            <a:ext cx="24228424" cy="137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934" y="2385285"/>
            <a:ext cx="12513860" cy="2651126"/>
          </a:xfrm>
        </p:spPr>
        <p:txBody>
          <a:bodyPr>
            <a:noAutofit/>
          </a:bodyPr>
          <a:lstStyle/>
          <a:p>
            <a:r>
              <a:rPr lang="en-US" sz="12000" b="1" dirty="0">
                <a:latin typeface="Century Gothic" panose="020B0502020202020204" pitchFamily="34" charset="0"/>
              </a:rPr>
              <a:t>DEFORESTATION AND CLIMATE CHANGE</a:t>
            </a:r>
          </a:p>
        </p:txBody>
      </p:sp>
      <p:sp>
        <p:nvSpPr>
          <p:cNvPr id="3" name="AutoShape 2" descr="Image result for sdg deforestati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AutoShape 4" descr="Image result for sdg deforestati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AutoShape 6" descr="Image result for sdg deforestation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33" y="9810328"/>
            <a:ext cx="3594547" cy="3594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094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Image result for Poll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4383999" cy="137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5576" y="521296"/>
            <a:ext cx="21031200" cy="2651126"/>
          </a:xfrm>
        </p:spPr>
        <p:txBody>
          <a:bodyPr>
            <a:normAutofit/>
          </a:bodyPr>
          <a:lstStyle/>
          <a:p>
            <a:r>
              <a:rPr lang="en-US" sz="12000" b="1" dirty="0">
                <a:latin typeface="Century Gothic" panose="020B0502020202020204" pitchFamily="34" charset="0"/>
              </a:rPr>
              <a:t>POLLUTION</a:t>
            </a:r>
          </a:p>
        </p:txBody>
      </p:sp>
      <p:pic>
        <p:nvPicPr>
          <p:cNvPr id="4098" name="Picture 2" descr="Image result for sdg acle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680" y="10170367"/>
            <a:ext cx="3312368" cy="3312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673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027" y="152400"/>
            <a:ext cx="23983950" cy="13411200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8375576" y="521296"/>
            <a:ext cx="21031200" cy="265112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457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685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9144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11430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1371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16002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1828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en-US" sz="12000" b="1" dirty="0" smtClean="0">
                <a:latin typeface="Century Gothic" panose="020B0502020202020204" pitchFamily="34" charset="0"/>
              </a:rPr>
              <a:t>THESE GUYS</a:t>
            </a:r>
            <a:endParaRPr lang="en-US" sz="12000" b="1" dirty="0">
              <a:latin typeface="Century Gothic" panose="020B0502020202020204" pitchFamily="34" charset="0"/>
            </a:endParaRPr>
          </a:p>
        </p:txBody>
      </p:sp>
      <p:pic>
        <p:nvPicPr>
          <p:cNvPr id="5122" name="Picture 2" descr="Image result for sdg aclean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84" b="10183"/>
          <a:stretch/>
        </p:blipFill>
        <p:spPr bwMode="auto">
          <a:xfrm>
            <a:off x="742728" y="8839472"/>
            <a:ext cx="4153000" cy="4139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988" y="4229707"/>
            <a:ext cx="9361040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 descr="Image result for kim jong u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40472" y="3648074"/>
            <a:ext cx="5619750" cy="641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3618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nscreen;1033;Pos1;Date1;PA presentation A4">
  <a:themeElements>
    <a:clrScheme name="01 NEW PA Blue">
      <a:dk1>
        <a:srgbClr val="000000"/>
      </a:dk1>
      <a:lt1>
        <a:srgbClr val="FFFFFF"/>
      </a:lt1>
      <a:dk2>
        <a:srgbClr val="293947"/>
      </a:dk2>
      <a:lt2>
        <a:srgbClr val="5E707D"/>
      </a:lt2>
      <a:accent1>
        <a:srgbClr val="3876BE"/>
      </a:accent1>
      <a:accent2>
        <a:srgbClr val="D78539"/>
      </a:accent2>
      <a:accent3>
        <a:srgbClr val="5D423E"/>
      </a:accent3>
      <a:accent4>
        <a:srgbClr val="45194F"/>
      </a:accent4>
      <a:accent5>
        <a:srgbClr val="2C4310"/>
      </a:accent5>
      <a:accent6>
        <a:srgbClr val="AED373"/>
      </a:accent6>
      <a:hlink>
        <a:srgbClr val="3876BE"/>
      </a:hlink>
      <a:folHlink>
        <a:srgbClr val="5E707D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rgbClr val="666666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Tx/>
          <a:buFont typeface="Symbol" pitchFamily="18" charset="2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rgbClr val="666666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Tx/>
          <a:buFont typeface="Symbol" pitchFamily="18" charset="2"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rgbClr val="737377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.potx" id="{53B4D5AB-4D44-47D0-891F-7A710CCB1E1B}" vid="{10118A18-8AD9-4D69-9296-E06B2DD3C607}"/>
    </a:ext>
  </a:extLst>
</a:theme>
</file>

<file path=ppt/theme/theme3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LAN041_Barclays_Template_021612_1a">
  <a:themeElements>
    <a:clrScheme name="LAN041_Barclays_Template_021612_1a 1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FFFFFF"/>
      </a:accent3>
      <a:accent4>
        <a:srgbClr val="000000"/>
      </a:accent4>
      <a:accent5>
        <a:srgbClr val="FDEAC1"/>
      </a:accent5>
      <a:accent6>
        <a:srgbClr val="D67D39"/>
      </a:accent6>
      <a:hlink>
        <a:srgbClr val="CB5151"/>
      </a:hlink>
      <a:folHlink>
        <a:srgbClr val="00395C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N041_Barclays_Template_021612_1a 1">
        <a:dk1>
          <a:srgbClr val="000000"/>
        </a:dk1>
        <a:lt1>
          <a:srgbClr val="FFFFFF"/>
        </a:lt1>
        <a:dk2>
          <a:srgbClr val="969696"/>
        </a:dk2>
        <a:lt2>
          <a:srgbClr val="00AEEF"/>
        </a:lt2>
        <a:accent1>
          <a:srgbClr val="FBDB81"/>
        </a:accent1>
        <a:accent2>
          <a:srgbClr val="EC8A40"/>
        </a:accent2>
        <a:accent3>
          <a:srgbClr val="FFFFFF"/>
        </a:accent3>
        <a:accent4>
          <a:srgbClr val="000000"/>
        </a:accent4>
        <a:accent5>
          <a:srgbClr val="FDEAC1"/>
        </a:accent5>
        <a:accent6>
          <a:srgbClr val="D67D39"/>
        </a:accent6>
        <a:hlink>
          <a:srgbClr val="CB5151"/>
        </a:hlink>
        <a:folHlink>
          <a:srgbClr val="0039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7</TotalTime>
  <Words>821</Words>
  <Application>Microsoft Office PowerPoint</Application>
  <PresentationFormat>Custom</PresentationFormat>
  <Paragraphs>202</Paragraphs>
  <Slides>45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66" baseType="lpstr">
      <vt:lpstr>Arial</vt:lpstr>
      <vt:lpstr>Times New Roman</vt:lpstr>
      <vt:lpstr>Calibri</vt:lpstr>
      <vt:lpstr>Barclaycard Co Lt</vt:lpstr>
      <vt:lpstr>Expert Sans Regular</vt:lpstr>
      <vt:lpstr>Helvetica Light</vt:lpstr>
      <vt:lpstr>DK Moonlight Serenade</vt:lpstr>
      <vt:lpstr>Symbol</vt:lpstr>
      <vt:lpstr>Helvetica</vt:lpstr>
      <vt:lpstr>Avenir</vt:lpstr>
      <vt:lpstr>Century Gothic</vt:lpstr>
      <vt:lpstr>Noto Sans Symbols</vt:lpstr>
      <vt:lpstr>Helvetica Neue</vt:lpstr>
      <vt:lpstr>Wingdings</vt:lpstr>
      <vt:lpstr>Arial Black</vt:lpstr>
      <vt:lpstr>Avenir Light</vt:lpstr>
      <vt:lpstr>White</vt:lpstr>
      <vt:lpstr>Onscreen;1033;Pos1;Date1;PA presentation A4</vt:lpstr>
      <vt:lpstr>1_White</vt:lpstr>
      <vt:lpstr>LAN041_Barclays_Template_021612_1a</vt:lpstr>
      <vt:lpstr>think-cell Slide</vt:lpstr>
      <vt:lpstr>PowerPoint Presentation</vt:lpstr>
      <vt:lpstr>PowerPoint Presentation</vt:lpstr>
      <vt:lpstr>PowerPoint Presentation</vt:lpstr>
      <vt:lpstr>The world is full of  BIG problems</vt:lpstr>
      <vt:lpstr>OVER CONSUMPTION</vt:lpstr>
      <vt:lpstr>ACCESS TO WATER</vt:lpstr>
      <vt:lpstr>DEFORESTATION AND CLIMATE CHANGE</vt:lpstr>
      <vt:lpstr>POLLUTION</vt:lpstr>
      <vt:lpstr>PowerPoint Presentation</vt:lpstr>
      <vt:lpstr>PowerPoint Presentation</vt:lpstr>
      <vt:lpstr>What is the role of business?</vt:lpstr>
      <vt:lpstr>Business is seen as the problem…</vt:lpstr>
      <vt:lpstr>Where are the solutions?</vt:lpstr>
      <vt:lpstr>The fundamental problem is…</vt:lpstr>
      <vt:lpstr>RESOURCES</vt:lpstr>
      <vt:lpstr>Where are the resources?</vt:lpstr>
      <vt:lpstr>Where are the resources?</vt:lpstr>
      <vt:lpstr>Profit is the…</vt:lpstr>
      <vt:lpstr>Conventional Wisdom </vt:lpstr>
      <vt:lpstr>The Reality is Opposite</vt:lpstr>
      <vt:lpstr>How do we use the power of business?</vt:lpstr>
      <vt:lpstr>Our Purpose is to Create Shared Value</vt:lpstr>
      <vt:lpstr>Solu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rclays RoundUp is a collaborative micro-donation initiative that facilitates a virtuous cycle amongst our customers, social enterprises and Barclays</vt:lpstr>
      <vt:lpstr>Even if only a fraction of current Barclays customers adopt Round-Up the social impact would be very significant; if Round Up was made available to Barclays wide products the social impact would be incredible</vt:lpstr>
      <vt:lpstr>PowerPoint Presentation</vt:lpstr>
      <vt:lpstr>PowerPoint Presentation</vt:lpstr>
      <vt:lpstr>PowerPoint Presentation</vt:lpstr>
      <vt:lpstr>Circle One Pager</vt:lpstr>
      <vt:lpstr>PowerPoint Presentation</vt:lpstr>
      <vt:lpstr>Circle Ma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sert fixed takeaways for audienc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ard, Tim : Corporate CIO</dc:creator>
  <cp:lastModifiedBy>Heard, Tim : Corporate CIO</cp:lastModifiedBy>
  <cp:revision>31</cp:revision>
  <dcterms:modified xsi:type="dcterms:W3CDTF">2017-09-28T11:5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094739598</vt:i4>
  </property>
  <property fmtid="{D5CDD505-2E9C-101B-9397-08002B2CF9AE}" pid="3" name="_NewReviewCycle">
    <vt:lpwstr/>
  </property>
  <property fmtid="{D5CDD505-2E9C-101B-9397-08002B2CF9AE}" pid="4" name="_EmailSubject">
    <vt:lpwstr>ilead presentation - just need to drop in one pager, map and think of some takeaways for middle management - we can catch up tomorrow to dish out sectiosn perhaps?</vt:lpwstr>
  </property>
  <property fmtid="{D5CDD505-2E9C-101B-9397-08002B2CF9AE}" pid="5" name="_AuthorEmail">
    <vt:lpwstr>Tim.Heard@barclayscorp.com</vt:lpwstr>
  </property>
  <property fmtid="{D5CDD505-2E9C-101B-9397-08002B2CF9AE}" pid="6" name="_AuthorEmailDisplayName">
    <vt:lpwstr>Heard, Tim : Barclays UK</vt:lpwstr>
  </property>
</Properties>
</file>